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238"/>
  </p:notesMasterIdLst>
  <p:sldIdLst>
    <p:sldId id="572" r:id="rId2"/>
    <p:sldId id="492" r:id="rId3"/>
    <p:sldId id="493" r:id="rId4"/>
    <p:sldId id="494" r:id="rId5"/>
    <p:sldId id="495" r:id="rId6"/>
    <p:sldId id="496" r:id="rId7"/>
    <p:sldId id="497" r:id="rId8"/>
    <p:sldId id="498" r:id="rId9"/>
    <p:sldId id="499" r:id="rId10"/>
    <p:sldId id="500" r:id="rId11"/>
    <p:sldId id="573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503" r:id="rId20"/>
    <p:sldId id="504" r:id="rId21"/>
    <p:sldId id="505" r:id="rId22"/>
    <p:sldId id="506" r:id="rId23"/>
    <p:sldId id="507" r:id="rId24"/>
    <p:sldId id="508" r:id="rId25"/>
    <p:sldId id="509" r:id="rId26"/>
    <p:sldId id="510" r:id="rId27"/>
    <p:sldId id="511" r:id="rId28"/>
    <p:sldId id="512" r:id="rId29"/>
    <p:sldId id="513" r:id="rId30"/>
    <p:sldId id="514" r:id="rId31"/>
    <p:sldId id="515" r:id="rId32"/>
    <p:sldId id="516" r:id="rId33"/>
    <p:sldId id="517" r:id="rId34"/>
    <p:sldId id="518" r:id="rId35"/>
    <p:sldId id="519" r:id="rId36"/>
    <p:sldId id="520" r:id="rId37"/>
    <p:sldId id="521" r:id="rId38"/>
    <p:sldId id="522" r:id="rId39"/>
    <p:sldId id="523" r:id="rId40"/>
    <p:sldId id="524" r:id="rId41"/>
    <p:sldId id="525" r:id="rId42"/>
    <p:sldId id="526" r:id="rId43"/>
    <p:sldId id="527" r:id="rId44"/>
    <p:sldId id="528" r:id="rId45"/>
    <p:sldId id="529" r:id="rId46"/>
    <p:sldId id="530" r:id="rId47"/>
    <p:sldId id="531" r:id="rId48"/>
    <p:sldId id="532" r:id="rId49"/>
    <p:sldId id="533" r:id="rId50"/>
    <p:sldId id="534" r:id="rId51"/>
    <p:sldId id="535" r:id="rId52"/>
    <p:sldId id="536" r:id="rId53"/>
    <p:sldId id="537" r:id="rId54"/>
    <p:sldId id="538" r:id="rId55"/>
    <p:sldId id="539" r:id="rId56"/>
    <p:sldId id="540" r:id="rId57"/>
    <p:sldId id="541" r:id="rId58"/>
    <p:sldId id="542" r:id="rId59"/>
    <p:sldId id="543" r:id="rId60"/>
    <p:sldId id="544" r:id="rId61"/>
    <p:sldId id="545" r:id="rId62"/>
    <p:sldId id="546" r:id="rId63"/>
    <p:sldId id="547" r:id="rId64"/>
    <p:sldId id="548" r:id="rId65"/>
    <p:sldId id="549" r:id="rId66"/>
    <p:sldId id="550" r:id="rId67"/>
    <p:sldId id="551" r:id="rId68"/>
    <p:sldId id="552" r:id="rId69"/>
    <p:sldId id="324" r:id="rId70"/>
    <p:sldId id="325" r:id="rId71"/>
    <p:sldId id="326" r:id="rId72"/>
    <p:sldId id="327" r:id="rId73"/>
    <p:sldId id="328" r:id="rId74"/>
    <p:sldId id="329" r:id="rId75"/>
    <p:sldId id="330" r:id="rId76"/>
    <p:sldId id="331" r:id="rId77"/>
    <p:sldId id="332" r:id="rId78"/>
    <p:sldId id="333" r:id="rId79"/>
    <p:sldId id="334" r:id="rId80"/>
    <p:sldId id="335" r:id="rId81"/>
    <p:sldId id="336" r:id="rId82"/>
    <p:sldId id="337" r:id="rId83"/>
    <p:sldId id="338" r:id="rId84"/>
    <p:sldId id="339" r:id="rId85"/>
    <p:sldId id="340" r:id="rId86"/>
    <p:sldId id="341" r:id="rId87"/>
    <p:sldId id="342" r:id="rId88"/>
    <p:sldId id="343" r:id="rId89"/>
    <p:sldId id="344" r:id="rId90"/>
    <p:sldId id="345" r:id="rId91"/>
    <p:sldId id="346" r:id="rId92"/>
    <p:sldId id="347" r:id="rId93"/>
    <p:sldId id="348" r:id="rId94"/>
    <p:sldId id="349" r:id="rId95"/>
    <p:sldId id="350" r:id="rId96"/>
    <p:sldId id="351" r:id="rId97"/>
    <p:sldId id="352" r:id="rId98"/>
    <p:sldId id="553" r:id="rId99"/>
    <p:sldId id="354" r:id="rId100"/>
    <p:sldId id="355" r:id="rId101"/>
    <p:sldId id="356" r:id="rId102"/>
    <p:sldId id="357" r:id="rId103"/>
    <p:sldId id="358" r:id="rId104"/>
    <p:sldId id="359" r:id="rId105"/>
    <p:sldId id="360" r:id="rId106"/>
    <p:sldId id="361" r:id="rId107"/>
    <p:sldId id="362" r:id="rId108"/>
    <p:sldId id="363" r:id="rId109"/>
    <p:sldId id="364" r:id="rId110"/>
    <p:sldId id="365" r:id="rId111"/>
    <p:sldId id="366" r:id="rId112"/>
    <p:sldId id="367" r:id="rId113"/>
    <p:sldId id="368" r:id="rId114"/>
    <p:sldId id="369" r:id="rId115"/>
    <p:sldId id="370" r:id="rId116"/>
    <p:sldId id="371" r:id="rId117"/>
    <p:sldId id="372" r:id="rId118"/>
    <p:sldId id="373" r:id="rId119"/>
    <p:sldId id="374" r:id="rId120"/>
    <p:sldId id="375" r:id="rId121"/>
    <p:sldId id="376" r:id="rId122"/>
    <p:sldId id="377" r:id="rId123"/>
    <p:sldId id="378" r:id="rId124"/>
    <p:sldId id="379" r:id="rId125"/>
    <p:sldId id="574" r:id="rId126"/>
    <p:sldId id="575" r:id="rId127"/>
    <p:sldId id="382" r:id="rId128"/>
    <p:sldId id="383" r:id="rId129"/>
    <p:sldId id="384" r:id="rId130"/>
    <p:sldId id="385" r:id="rId131"/>
    <p:sldId id="386" r:id="rId132"/>
    <p:sldId id="387" r:id="rId133"/>
    <p:sldId id="388" r:id="rId134"/>
    <p:sldId id="389" r:id="rId135"/>
    <p:sldId id="390" r:id="rId136"/>
    <p:sldId id="391" r:id="rId137"/>
    <p:sldId id="392" r:id="rId138"/>
    <p:sldId id="393" r:id="rId139"/>
    <p:sldId id="394" r:id="rId140"/>
    <p:sldId id="395" r:id="rId141"/>
    <p:sldId id="396" r:id="rId142"/>
    <p:sldId id="397" r:id="rId143"/>
    <p:sldId id="398" r:id="rId144"/>
    <p:sldId id="399" r:id="rId145"/>
    <p:sldId id="400" r:id="rId146"/>
    <p:sldId id="401" r:id="rId147"/>
    <p:sldId id="402" r:id="rId148"/>
    <p:sldId id="403" r:id="rId149"/>
    <p:sldId id="404" r:id="rId150"/>
    <p:sldId id="405" r:id="rId151"/>
    <p:sldId id="406" r:id="rId152"/>
    <p:sldId id="407" r:id="rId153"/>
    <p:sldId id="408" r:id="rId154"/>
    <p:sldId id="409" r:id="rId155"/>
    <p:sldId id="410" r:id="rId156"/>
    <p:sldId id="411" r:id="rId157"/>
    <p:sldId id="412" r:id="rId158"/>
    <p:sldId id="413" r:id="rId159"/>
    <p:sldId id="414" r:id="rId160"/>
    <p:sldId id="415" r:id="rId161"/>
    <p:sldId id="416" r:id="rId162"/>
    <p:sldId id="417" r:id="rId163"/>
    <p:sldId id="418" r:id="rId164"/>
    <p:sldId id="419" r:id="rId165"/>
    <p:sldId id="420" r:id="rId166"/>
    <p:sldId id="421" r:id="rId167"/>
    <p:sldId id="422" r:id="rId168"/>
    <p:sldId id="423" r:id="rId169"/>
    <p:sldId id="424" r:id="rId170"/>
    <p:sldId id="425" r:id="rId171"/>
    <p:sldId id="576" r:id="rId172"/>
    <p:sldId id="427" r:id="rId173"/>
    <p:sldId id="428" r:id="rId174"/>
    <p:sldId id="429" r:id="rId175"/>
    <p:sldId id="557" r:id="rId176"/>
    <p:sldId id="430" r:id="rId177"/>
    <p:sldId id="431" r:id="rId178"/>
    <p:sldId id="432" r:id="rId179"/>
    <p:sldId id="434" r:id="rId180"/>
    <p:sldId id="435" r:id="rId181"/>
    <p:sldId id="436" r:id="rId182"/>
    <p:sldId id="438" r:id="rId183"/>
    <p:sldId id="558" r:id="rId184"/>
    <p:sldId id="559" r:id="rId185"/>
    <p:sldId id="440" r:id="rId186"/>
    <p:sldId id="441" r:id="rId187"/>
    <p:sldId id="442" r:id="rId188"/>
    <p:sldId id="443" r:id="rId189"/>
    <p:sldId id="444" r:id="rId190"/>
    <p:sldId id="445" r:id="rId191"/>
    <p:sldId id="446" r:id="rId192"/>
    <p:sldId id="447" r:id="rId193"/>
    <p:sldId id="448" r:id="rId194"/>
    <p:sldId id="449" r:id="rId195"/>
    <p:sldId id="450" r:id="rId196"/>
    <p:sldId id="451" r:id="rId197"/>
    <p:sldId id="452" r:id="rId198"/>
    <p:sldId id="453" r:id="rId199"/>
    <p:sldId id="454" r:id="rId200"/>
    <p:sldId id="560" r:id="rId201"/>
    <p:sldId id="561" r:id="rId202"/>
    <p:sldId id="457" r:id="rId203"/>
    <p:sldId id="458" r:id="rId204"/>
    <p:sldId id="459" r:id="rId205"/>
    <p:sldId id="460" r:id="rId206"/>
    <p:sldId id="461" r:id="rId207"/>
    <p:sldId id="462" r:id="rId208"/>
    <p:sldId id="562" r:id="rId209"/>
    <p:sldId id="463" r:id="rId210"/>
    <p:sldId id="464" r:id="rId211"/>
    <p:sldId id="465" r:id="rId212"/>
    <p:sldId id="466" r:id="rId213"/>
    <p:sldId id="468" r:id="rId214"/>
    <p:sldId id="469" r:id="rId215"/>
    <p:sldId id="470" r:id="rId216"/>
    <p:sldId id="471" r:id="rId217"/>
    <p:sldId id="577" r:id="rId218"/>
    <p:sldId id="473" r:id="rId219"/>
    <p:sldId id="474" r:id="rId220"/>
    <p:sldId id="475" r:id="rId221"/>
    <p:sldId id="564" r:id="rId222"/>
    <p:sldId id="477" r:id="rId223"/>
    <p:sldId id="565" r:id="rId224"/>
    <p:sldId id="479" r:id="rId225"/>
    <p:sldId id="566" r:id="rId226"/>
    <p:sldId id="481" r:id="rId227"/>
    <p:sldId id="567" r:id="rId228"/>
    <p:sldId id="483" r:id="rId229"/>
    <p:sldId id="568" r:id="rId230"/>
    <p:sldId id="578" r:id="rId231"/>
    <p:sldId id="570" r:id="rId232"/>
    <p:sldId id="487" r:id="rId233"/>
    <p:sldId id="571" r:id="rId234"/>
    <p:sldId id="489" r:id="rId235"/>
    <p:sldId id="490" r:id="rId236"/>
    <p:sldId id="491" r:id="rId237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2" userDrawn="1">
          <p15:clr>
            <a:srgbClr val="A4A3A4"/>
          </p15:clr>
        </p15:guide>
        <p15:guide id="2" pos="652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E7E"/>
    <a:srgbClr val="F69545"/>
    <a:srgbClr val="AAC56C"/>
    <a:srgbClr val="FAA757"/>
    <a:srgbClr val="418FA2"/>
    <a:srgbClr val="4E81BC"/>
    <a:srgbClr val="6094C9"/>
    <a:srgbClr val="83984F"/>
    <a:srgbClr val="C1803F"/>
    <a:srgbClr val="CD66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3" autoAdjust="0"/>
    <p:restoredTop sz="87550" autoAdjust="0"/>
  </p:normalViewPr>
  <p:slideViewPr>
    <p:cSldViewPr snapToGrid="0">
      <p:cViewPr varScale="1">
        <p:scale>
          <a:sx n="114" d="100"/>
          <a:sy n="114" d="100"/>
        </p:scale>
        <p:origin x="1008" y="168"/>
      </p:cViewPr>
      <p:guideLst>
        <p:guide orient="horz" pos="192"/>
        <p:guide pos="652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12621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91" Type="http://schemas.openxmlformats.org/officeDocument/2006/relationships/slide" Target="slides/slide190.xml"/><Relationship Id="rId205" Type="http://schemas.openxmlformats.org/officeDocument/2006/relationships/slide" Target="slides/slide204.xml"/><Relationship Id="rId226" Type="http://schemas.openxmlformats.org/officeDocument/2006/relationships/slide" Target="slides/slide22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81" Type="http://schemas.openxmlformats.org/officeDocument/2006/relationships/slide" Target="slides/slide180.xml"/><Relationship Id="rId216" Type="http://schemas.openxmlformats.org/officeDocument/2006/relationships/slide" Target="slides/slide215.xml"/><Relationship Id="rId237" Type="http://schemas.openxmlformats.org/officeDocument/2006/relationships/slide" Target="slides/slide236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71" Type="http://schemas.openxmlformats.org/officeDocument/2006/relationships/slide" Target="slides/slide170.xml"/><Relationship Id="rId192" Type="http://schemas.openxmlformats.org/officeDocument/2006/relationships/slide" Target="slides/slide191.xml"/><Relationship Id="rId206" Type="http://schemas.openxmlformats.org/officeDocument/2006/relationships/slide" Target="slides/slide205.xml"/><Relationship Id="rId227" Type="http://schemas.openxmlformats.org/officeDocument/2006/relationships/slide" Target="slides/slide226.xml"/><Relationship Id="rId12" Type="http://schemas.openxmlformats.org/officeDocument/2006/relationships/slide" Target="slides/slide11.xml"/><Relationship Id="rId33" Type="http://schemas.openxmlformats.org/officeDocument/2006/relationships/slide" Target="slides/slide32.xml"/><Relationship Id="rId108" Type="http://schemas.openxmlformats.org/officeDocument/2006/relationships/slide" Target="slides/slide107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5" Type="http://schemas.openxmlformats.org/officeDocument/2006/relationships/slide" Target="slides/slide74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61" Type="http://schemas.openxmlformats.org/officeDocument/2006/relationships/slide" Target="slides/slide160.xml"/><Relationship Id="rId182" Type="http://schemas.openxmlformats.org/officeDocument/2006/relationships/slide" Target="slides/slide181.xml"/><Relationship Id="rId217" Type="http://schemas.openxmlformats.org/officeDocument/2006/relationships/slide" Target="slides/slide216.xml"/><Relationship Id="rId6" Type="http://schemas.openxmlformats.org/officeDocument/2006/relationships/slide" Target="slides/slide5.xml"/><Relationship Id="rId238" Type="http://schemas.openxmlformats.org/officeDocument/2006/relationships/notesMaster" Target="notesMasters/notesMaster1.xml"/><Relationship Id="rId23" Type="http://schemas.openxmlformats.org/officeDocument/2006/relationships/slide" Target="slides/slide22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5" Type="http://schemas.openxmlformats.org/officeDocument/2006/relationships/slide" Target="slides/slide64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51" Type="http://schemas.openxmlformats.org/officeDocument/2006/relationships/slide" Target="slides/slide150.xml"/><Relationship Id="rId172" Type="http://schemas.openxmlformats.org/officeDocument/2006/relationships/slide" Target="slides/slide171.xml"/><Relationship Id="rId193" Type="http://schemas.openxmlformats.org/officeDocument/2006/relationships/slide" Target="slides/slide192.xml"/><Relationship Id="rId207" Type="http://schemas.openxmlformats.org/officeDocument/2006/relationships/slide" Target="slides/slide206.xml"/><Relationship Id="rId228" Type="http://schemas.openxmlformats.org/officeDocument/2006/relationships/slide" Target="slides/slide227.xml"/><Relationship Id="rId13" Type="http://schemas.openxmlformats.org/officeDocument/2006/relationships/slide" Target="slides/slide12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20" Type="http://schemas.openxmlformats.org/officeDocument/2006/relationships/slide" Target="slides/slide119.xml"/><Relationship Id="rId141" Type="http://schemas.openxmlformats.org/officeDocument/2006/relationships/slide" Target="slides/slide140.xml"/><Relationship Id="rId7" Type="http://schemas.openxmlformats.org/officeDocument/2006/relationships/slide" Target="slides/slide6.xml"/><Relationship Id="rId162" Type="http://schemas.openxmlformats.org/officeDocument/2006/relationships/slide" Target="slides/slide161.xml"/><Relationship Id="rId183" Type="http://schemas.openxmlformats.org/officeDocument/2006/relationships/slide" Target="slides/slide182.xml"/><Relationship Id="rId218" Type="http://schemas.openxmlformats.org/officeDocument/2006/relationships/slide" Target="slides/slide217.xml"/><Relationship Id="rId239" Type="http://schemas.openxmlformats.org/officeDocument/2006/relationships/presProps" Target="presProps.xml"/><Relationship Id="rId24" Type="http://schemas.openxmlformats.org/officeDocument/2006/relationships/slide" Target="slides/slide23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31" Type="http://schemas.openxmlformats.org/officeDocument/2006/relationships/slide" Target="slides/slide130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4" Type="http://schemas.openxmlformats.org/officeDocument/2006/relationships/slide" Target="slides/slide193.xml"/><Relationship Id="rId208" Type="http://schemas.openxmlformats.org/officeDocument/2006/relationships/slide" Target="slides/slide207.xml"/><Relationship Id="rId229" Type="http://schemas.openxmlformats.org/officeDocument/2006/relationships/slide" Target="slides/slide228.xml"/><Relationship Id="rId240" Type="http://schemas.openxmlformats.org/officeDocument/2006/relationships/viewProps" Target="viewProps.xml"/><Relationship Id="rId14" Type="http://schemas.openxmlformats.org/officeDocument/2006/relationships/slide" Target="slides/slide13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8" Type="http://schemas.openxmlformats.org/officeDocument/2006/relationships/slide" Target="slides/slide7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slide" Target="slides/slide183.xml"/><Relationship Id="rId219" Type="http://schemas.openxmlformats.org/officeDocument/2006/relationships/slide" Target="slides/slide218.xml"/><Relationship Id="rId230" Type="http://schemas.openxmlformats.org/officeDocument/2006/relationships/slide" Target="slides/slide229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95" Type="http://schemas.openxmlformats.org/officeDocument/2006/relationships/slide" Target="slides/slide194.xml"/><Relationship Id="rId209" Type="http://schemas.openxmlformats.org/officeDocument/2006/relationships/slide" Target="slides/slide208.xml"/><Relationship Id="rId220" Type="http://schemas.openxmlformats.org/officeDocument/2006/relationships/slide" Target="slides/slide219.xml"/><Relationship Id="rId241" Type="http://schemas.openxmlformats.org/officeDocument/2006/relationships/theme" Target="theme/theme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85" Type="http://schemas.openxmlformats.org/officeDocument/2006/relationships/slide" Target="slides/slide18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80" Type="http://schemas.openxmlformats.org/officeDocument/2006/relationships/slide" Target="slides/slide179.xml"/><Relationship Id="rId210" Type="http://schemas.openxmlformats.org/officeDocument/2006/relationships/slide" Target="slides/slide209.xml"/><Relationship Id="rId215" Type="http://schemas.openxmlformats.org/officeDocument/2006/relationships/slide" Target="slides/slide214.xml"/><Relationship Id="rId236" Type="http://schemas.openxmlformats.org/officeDocument/2006/relationships/slide" Target="slides/slide235.xml"/><Relationship Id="rId26" Type="http://schemas.openxmlformats.org/officeDocument/2006/relationships/slide" Target="slides/slide25.xml"/><Relationship Id="rId231" Type="http://schemas.openxmlformats.org/officeDocument/2006/relationships/slide" Target="slides/slide230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slide" Target="slides/slide174.xml"/><Relationship Id="rId196" Type="http://schemas.openxmlformats.org/officeDocument/2006/relationships/slide" Target="slides/slide195.xml"/><Relationship Id="rId200" Type="http://schemas.openxmlformats.org/officeDocument/2006/relationships/slide" Target="slides/slide199.xml"/><Relationship Id="rId16" Type="http://schemas.openxmlformats.org/officeDocument/2006/relationships/slide" Target="slides/slide15.xml"/><Relationship Id="rId221" Type="http://schemas.openxmlformats.org/officeDocument/2006/relationships/slide" Target="slides/slide220.xml"/><Relationship Id="rId242" Type="http://schemas.openxmlformats.org/officeDocument/2006/relationships/tableStyles" Target="tableStyles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165" Type="http://schemas.openxmlformats.org/officeDocument/2006/relationships/slide" Target="slides/slide164.xml"/><Relationship Id="rId186" Type="http://schemas.openxmlformats.org/officeDocument/2006/relationships/slide" Target="slides/slide185.xml"/><Relationship Id="rId211" Type="http://schemas.openxmlformats.org/officeDocument/2006/relationships/slide" Target="slides/slide210.xml"/><Relationship Id="rId232" Type="http://schemas.openxmlformats.org/officeDocument/2006/relationships/slide" Target="slides/slide231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slide" Target="slides/slide154.xml"/><Relationship Id="rId176" Type="http://schemas.openxmlformats.org/officeDocument/2006/relationships/slide" Target="slides/slide175.xml"/><Relationship Id="rId197" Type="http://schemas.openxmlformats.org/officeDocument/2006/relationships/slide" Target="slides/slide196.xml"/><Relationship Id="rId201" Type="http://schemas.openxmlformats.org/officeDocument/2006/relationships/slide" Target="slides/slide200.xml"/><Relationship Id="rId222" Type="http://schemas.openxmlformats.org/officeDocument/2006/relationships/slide" Target="slides/slide221.xml"/><Relationship Id="rId17" Type="http://schemas.openxmlformats.org/officeDocument/2006/relationships/slide" Target="slides/slide16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24" Type="http://schemas.openxmlformats.org/officeDocument/2006/relationships/slide" Target="slides/slide123.xml"/><Relationship Id="rId70" Type="http://schemas.openxmlformats.org/officeDocument/2006/relationships/slide" Target="slides/slide69.xml"/><Relationship Id="rId91" Type="http://schemas.openxmlformats.org/officeDocument/2006/relationships/slide" Target="slides/slide90.xml"/><Relationship Id="rId145" Type="http://schemas.openxmlformats.org/officeDocument/2006/relationships/slide" Target="slides/slide144.xml"/><Relationship Id="rId166" Type="http://schemas.openxmlformats.org/officeDocument/2006/relationships/slide" Target="slides/slide165.xml"/><Relationship Id="rId187" Type="http://schemas.openxmlformats.org/officeDocument/2006/relationships/slide" Target="slides/slide186.xml"/><Relationship Id="rId1" Type="http://schemas.openxmlformats.org/officeDocument/2006/relationships/slideMaster" Target="slideMasters/slideMaster1.xml"/><Relationship Id="rId212" Type="http://schemas.openxmlformats.org/officeDocument/2006/relationships/slide" Target="slides/slide211.xml"/><Relationship Id="rId233" Type="http://schemas.openxmlformats.org/officeDocument/2006/relationships/slide" Target="slides/slide23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60" Type="http://schemas.openxmlformats.org/officeDocument/2006/relationships/slide" Target="slides/slide59.xml"/><Relationship Id="rId81" Type="http://schemas.openxmlformats.org/officeDocument/2006/relationships/slide" Target="slides/slide80.xml"/><Relationship Id="rId135" Type="http://schemas.openxmlformats.org/officeDocument/2006/relationships/slide" Target="slides/slide134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198" Type="http://schemas.openxmlformats.org/officeDocument/2006/relationships/slide" Target="slides/slide197.xml"/><Relationship Id="rId202" Type="http://schemas.openxmlformats.org/officeDocument/2006/relationships/slide" Target="slides/slide201.xml"/><Relationship Id="rId223" Type="http://schemas.openxmlformats.org/officeDocument/2006/relationships/slide" Target="slides/slide22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50" Type="http://schemas.openxmlformats.org/officeDocument/2006/relationships/slide" Target="slides/slide49.xml"/><Relationship Id="rId104" Type="http://schemas.openxmlformats.org/officeDocument/2006/relationships/slide" Target="slides/slide103.xml"/><Relationship Id="rId125" Type="http://schemas.openxmlformats.org/officeDocument/2006/relationships/slide" Target="slides/slide124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188" Type="http://schemas.openxmlformats.org/officeDocument/2006/relationships/slide" Target="slides/slide187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13" Type="http://schemas.openxmlformats.org/officeDocument/2006/relationships/slide" Target="slides/slide212.xml"/><Relationship Id="rId234" Type="http://schemas.openxmlformats.org/officeDocument/2006/relationships/slide" Target="slides/slide233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40" Type="http://schemas.openxmlformats.org/officeDocument/2006/relationships/slide" Target="slides/slide39.xml"/><Relationship Id="rId115" Type="http://schemas.openxmlformats.org/officeDocument/2006/relationships/slide" Target="slides/slide114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slide" Target="slides/slide177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9" Type="http://schemas.openxmlformats.org/officeDocument/2006/relationships/slide" Target="slides/slide198.xml"/><Relationship Id="rId203" Type="http://schemas.openxmlformats.org/officeDocument/2006/relationships/slide" Target="slides/slide202.xml"/><Relationship Id="rId19" Type="http://schemas.openxmlformats.org/officeDocument/2006/relationships/slide" Target="slides/slide18.xml"/><Relationship Id="rId224" Type="http://schemas.openxmlformats.org/officeDocument/2006/relationships/slide" Target="slides/slide223.xml"/><Relationship Id="rId30" Type="http://schemas.openxmlformats.org/officeDocument/2006/relationships/slide" Target="slides/slide2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189" Type="http://schemas.openxmlformats.org/officeDocument/2006/relationships/slide" Target="slides/slide188.xml"/><Relationship Id="rId3" Type="http://schemas.openxmlformats.org/officeDocument/2006/relationships/slide" Target="slides/slide2.xml"/><Relationship Id="rId214" Type="http://schemas.openxmlformats.org/officeDocument/2006/relationships/slide" Target="slides/slide213.xml"/><Relationship Id="rId235" Type="http://schemas.openxmlformats.org/officeDocument/2006/relationships/slide" Target="slides/slide234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179" Type="http://schemas.openxmlformats.org/officeDocument/2006/relationships/slide" Target="slides/slide178.xml"/><Relationship Id="rId190" Type="http://schemas.openxmlformats.org/officeDocument/2006/relationships/slide" Target="slides/slide189.xml"/><Relationship Id="rId204" Type="http://schemas.openxmlformats.org/officeDocument/2006/relationships/slide" Target="slides/slide203.xml"/><Relationship Id="rId225" Type="http://schemas.openxmlformats.org/officeDocument/2006/relationships/slide" Target="slides/slide22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8CBA74-8777-134E-BC59-1E7D8C1AB59D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3EDC76-73A9-9444-BD0D-1934E9A0C8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8930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dirty="0" err="1">
                <a:solidFill>
                  <a:srgbClr val="16171A"/>
                </a:solidFill>
                <a:latin typeface="Helvetica"/>
              </a:rPr>
              <a:t>n_init</a:t>
            </a:r>
            <a:r>
              <a:rPr lang="en-US" sz="1200" b="0" dirty="0">
                <a:solidFill>
                  <a:srgbClr val="16171A"/>
                </a:solidFill>
                <a:latin typeface="Helvetica"/>
              </a:rPr>
              <a:t> : </a:t>
            </a:r>
            <a:r>
              <a:rPr lang="en-US" sz="1200" b="0" dirty="0" err="1">
                <a:solidFill>
                  <a:srgbClr val="16171A"/>
                </a:solidFill>
                <a:latin typeface="Helvetica"/>
              </a:rPr>
              <a:t>int</a:t>
            </a:r>
            <a:r>
              <a:rPr lang="en-US" sz="1200" b="0" dirty="0">
                <a:solidFill>
                  <a:srgbClr val="16171A"/>
                </a:solidFill>
                <a:latin typeface="Helvetica"/>
              </a:rPr>
              <a:t>, optional, default: 10</a:t>
            </a:r>
          </a:p>
          <a:p>
            <a:r>
              <a:rPr lang="en-US" sz="1200" b="0" dirty="0">
                <a:solidFill>
                  <a:srgbClr val="16171A"/>
                </a:solidFill>
                <a:latin typeface="Helvetica"/>
              </a:rPr>
              <a:t>Number of time the k-means algorithm will be run with different centroid seeds. The final results will be the best output of </a:t>
            </a:r>
            <a:r>
              <a:rPr lang="en-US" sz="1200" b="0" dirty="0" err="1">
                <a:solidFill>
                  <a:srgbClr val="16171A"/>
                </a:solidFill>
                <a:latin typeface="Helvetica"/>
              </a:rPr>
              <a:t>n_init</a:t>
            </a:r>
            <a:r>
              <a:rPr lang="en-US" sz="1200" b="0" dirty="0">
                <a:solidFill>
                  <a:srgbClr val="16171A"/>
                </a:solidFill>
                <a:latin typeface="Helvetica"/>
              </a:rPr>
              <a:t> consecutive runs in terms of inerti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3EDC76-73A9-9444-BD0D-1934E9A0C8CC}" type="slidenum">
              <a:rPr lang="en-US" smtClean="0"/>
              <a:t>2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81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3EDC76-73A9-9444-BD0D-1934E9A0C8CC}" type="slidenum">
              <a:rPr lang="en-US" smtClean="0"/>
              <a:t>2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1273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eed/scaling depends on </a:t>
            </a:r>
            <a:r>
              <a:rPr lang="en-US"/>
              <a:t>linkage metho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3EDC76-73A9-9444-BD0D-1934E9A0C8CC}" type="slidenum">
              <a:rPr lang="en-US" smtClean="0"/>
              <a:t>2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745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ord axes can also be “latent” or theme ax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3EDC76-73A9-9444-BD0D-1934E9A0C8CC}" type="slidenum">
              <a:rPr lang="en-US" smtClean="0"/>
              <a:t>2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894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nding similar points/documents in that line of sight, or mix of the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3EDC76-73A9-9444-BD0D-1934E9A0C8CC}" type="slidenum">
              <a:rPr lang="en-US" smtClean="0"/>
              <a:t>2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9461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n add boundaries for predicting</a:t>
            </a:r>
            <a:r>
              <a:rPr lang="en-US" baseline="0" dirty="0"/>
              <a:t> future points, since areas are fan-bas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3EDC76-73A9-9444-BD0D-1934E9A0C8CC}" type="slidenum">
              <a:rPr lang="en-US" smtClean="0"/>
              <a:t>2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112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3071" y="752546"/>
            <a:ext cx="9611016" cy="3438454"/>
          </a:xfrm>
          <a:prstGeom prst="rect">
            <a:avLst/>
          </a:prstGeom>
        </p:spPr>
        <p:txBody>
          <a:bodyPr anchor="t" anchorCtr="0"/>
          <a:lstStyle>
            <a:lvl1pPr>
              <a:defRPr sz="49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1AB164B-0894-B142-A83D-CC15DEBBD68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11293832" y="5627914"/>
            <a:ext cx="571457" cy="90913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AA1506-7899-5843-A44E-BB8E80613307}"/>
              </a:ext>
            </a:extLst>
          </p:cNvPr>
          <p:cNvSpPr/>
          <p:nvPr/>
        </p:nvSpPr>
        <p:spPr>
          <a:xfrm>
            <a:off x="1" y="0"/>
            <a:ext cx="108857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717307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005" y="4876787"/>
            <a:ext cx="9570195" cy="56673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1800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93005" y="762000"/>
            <a:ext cx="9570195" cy="3640666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006" y="5443525"/>
            <a:ext cx="9570193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346D643-3D40-A544-BA11-C5702B803186}"/>
              </a:ext>
            </a:extLst>
          </p:cNvPr>
          <p:cNvCxnSpPr>
            <a:cxnSpLocks/>
          </p:cNvCxnSpPr>
          <p:nvPr/>
        </p:nvCxnSpPr>
        <p:spPr>
          <a:xfrm>
            <a:off x="793005" y="4816208"/>
            <a:ext cx="9570195" cy="0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1868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0697" y="892629"/>
            <a:ext cx="7720019" cy="3286125"/>
          </a:xfrm>
          <a:prstGeom prst="rect">
            <a:avLst/>
          </a:prstGeo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1289273" y="4401913"/>
            <a:ext cx="7279649" cy="498747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35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marL="0" lvl="0" indent="0">
              <a:buNone/>
            </a:pPr>
            <a:r>
              <a:rPr lang="en-US" dirty="0"/>
              <a:t>- QUOTE AUTHO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1160" y="416083"/>
            <a:ext cx="801912" cy="150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9150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976705" y="3431632"/>
            <a:ext cx="801912" cy="150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9150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561224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640" y="1234441"/>
            <a:ext cx="7720019" cy="828041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C302B9C-2E99-DD43-B6BC-73FCC0BAA5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4640" y="2393632"/>
            <a:ext cx="7720019" cy="236124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177E7E-7C5D-534C-BCB5-67E15CA69734}"/>
              </a:ext>
            </a:extLst>
          </p:cNvPr>
          <p:cNvSpPr/>
          <p:nvPr/>
        </p:nvSpPr>
        <p:spPr>
          <a:xfrm>
            <a:off x="694641" y="4968240"/>
            <a:ext cx="4672017" cy="65024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900" dirty="0"/>
              <a:t>CALL OUT or CALL TO ACTION can go here</a:t>
            </a:r>
          </a:p>
        </p:txBody>
      </p:sp>
    </p:spTree>
    <p:extLst>
      <p:ext uri="{BB962C8B-B14F-4D97-AF65-F5344CB8AC3E}">
        <p14:creationId xmlns:p14="http://schemas.microsoft.com/office/powerpoint/2010/main" val="3356092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5987" y="2962275"/>
            <a:ext cx="2946867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45503" y="3648075"/>
            <a:ext cx="2927351" cy="2381250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76701" y="2962275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66145" y="3648075"/>
            <a:ext cx="2946795" cy="2381250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17741" y="2962275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17741" y="3648075"/>
            <a:ext cx="2932113" cy="2381250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3719183" y="3114675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6955267" y="3114675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851FE1CA-4C16-AD45-BD54-500EEF78C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9525150-06D1-F64E-A049-783F7E29F5F6}"/>
              </a:ext>
            </a:extLst>
          </p:cNvPr>
          <p:cNvSpPr/>
          <p:nvPr/>
        </p:nvSpPr>
        <p:spPr>
          <a:xfrm>
            <a:off x="721238" y="1633539"/>
            <a:ext cx="1266825" cy="12668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AE72322-60BD-2643-8938-E19617DB5104}"/>
              </a:ext>
            </a:extLst>
          </p:cNvPr>
          <p:cNvSpPr/>
          <p:nvPr/>
        </p:nvSpPr>
        <p:spPr>
          <a:xfrm>
            <a:off x="3971950" y="1633539"/>
            <a:ext cx="1266825" cy="12668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C76404-DA09-8443-9D3C-1696077594EF}"/>
              </a:ext>
            </a:extLst>
          </p:cNvPr>
          <p:cNvSpPr/>
          <p:nvPr/>
        </p:nvSpPr>
        <p:spPr>
          <a:xfrm>
            <a:off x="7212992" y="1633539"/>
            <a:ext cx="1266825" cy="12668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/>
          </a:p>
        </p:txBody>
      </p:sp>
    </p:spTree>
    <p:extLst>
      <p:ext uri="{BB962C8B-B14F-4D97-AF65-F5344CB8AC3E}">
        <p14:creationId xmlns:p14="http://schemas.microsoft.com/office/powerpoint/2010/main" val="20294011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3641349"/>
            <a:ext cx="2940051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1819275"/>
            <a:ext cx="2940051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217613"/>
            <a:ext cx="2940051" cy="1487865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6" y="36413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5" y="1819275"/>
            <a:ext cx="2930525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217612"/>
            <a:ext cx="2934407" cy="1487865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1" y="36413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701" y="1819275"/>
            <a:ext cx="2932113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6" y="4217610"/>
            <a:ext cx="2935997" cy="1487865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3" y="1743075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1743075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F638FCE4-00A7-BB4E-98EC-AB681132F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315878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587004"/>
            <a:ext cx="8825659" cy="1683992"/>
          </a:xfrm>
          <a:prstGeom prst="rect">
            <a:avLst/>
          </a:prstGeom>
        </p:spPr>
        <p:txBody>
          <a:bodyPr anchor="t" anchorCtr="0"/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568659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A7502509-4FE6-E24C-AA96-C740FC421C24}"/>
              </a:ext>
            </a:extLst>
          </p:cNvPr>
          <p:cNvSpPr/>
          <p:nvPr/>
        </p:nvSpPr>
        <p:spPr>
          <a:xfrm>
            <a:off x="5737781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39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B1010D-DEFC-A24B-9C13-2017C9E202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8" y="480150"/>
            <a:ext cx="416327" cy="52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00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193801" y="1149350"/>
            <a:ext cx="9810751" cy="232410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93801" y="3536950"/>
            <a:ext cx="9810751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650"/>
            </a:lvl1pPr>
            <a:lvl2pPr marL="0" indent="0" algn="ctr">
              <a:spcBef>
                <a:spcPts val="0"/>
              </a:spcBef>
              <a:buSzTx/>
              <a:buNone/>
              <a:defRPr sz="1650"/>
            </a:lvl2pPr>
            <a:lvl3pPr marL="0" indent="0" algn="ctr">
              <a:spcBef>
                <a:spcPts val="0"/>
              </a:spcBef>
              <a:buSzTx/>
              <a:buNone/>
              <a:defRPr sz="1650"/>
            </a:lvl3pPr>
            <a:lvl4pPr marL="0" indent="0" algn="ctr">
              <a:spcBef>
                <a:spcPts val="0"/>
              </a:spcBef>
              <a:buSzTx/>
              <a:buNone/>
              <a:defRPr sz="1650"/>
            </a:lvl4pPr>
            <a:lvl5pPr marL="0" indent="0" algn="ctr">
              <a:spcBef>
                <a:spcPts val="0"/>
              </a:spcBef>
              <a:buSzTx/>
              <a:buNone/>
              <a:defRPr sz="16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630068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3330321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1193801" y="4476750"/>
            <a:ext cx="9810751" cy="31162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425" b="1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/>
          </p:nvPr>
        </p:nvSpPr>
        <p:spPr>
          <a:xfrm>
            <a:off x="1193801" y="3003550"/>
            <a:ext cx="9810751" cy="4154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1275"/>
              </a:spcBef>
              <a:buSzTx/>
              <a:buNone/>
              <a:defRPr sz="2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8820753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81992998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038198"/>
            <a:ext cx="8825659" cy="2619548"/>
          </a:xfrm>
          <a:prstGeom prst="rect">
            <a:avLst/>
          </a:prstGeom>
        </p:spPr>
        <p:txBody>
          <a:bodyPr anchor="t" anchorCtr="0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55996" y="5061770"/>
            <a:ext cx="8825659" cy="646390"/>
          </a:xfrm>
        </p:spPr>
        <p:txBody>
          <a:bodyPr anchor="t"/>
          <a:lstStyle>
            <a:lvl1pPr marL="0" indent="0" algn="ctr">
              <a:buNone/>
              <a:defRPr cap="none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693486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FBE9B87-5D1F-E94B-B539-EC11664BD536}"/>
              </a:ext>
            </a:extLst>
          </p:cNvPr>
          <p:cNvSpPr/>
          <p:nvPr/>
        </p:nvSpPr>
        <p:spPr>
          <a:xfrm>
            <a:off x="5737781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39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CA907F-9252-0B49-807C-E526EE694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8" y="480150"/>
            <a:ext cx="416327" cy="52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3003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 txBox="1">
            <a:spLocks noGrp="1"/>
          </p:cNvSpPr>
          <p:nvPr>
            <p:ph type="title"/>
          </p:nvPr>
        </p:nvSpPr>
        <p:spPr>
          <a:xfrm>
            <a:off x="1193801" y="2266950"/>
            <a:ext cx="9810751" cy="2324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1099445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 spc="225"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936" y="1590677"/>
            <a:ext cx="9660917" cy="4195481"/>
          </a:xfrm>
        </p:spPr>
        <p:txBody>
          <a:bodyPr/>
          <a:lstStyle>
            <a:lvl1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0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8936" y="1603377"/>
            <a:ext cx="4396339" cy="4195763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0117" y="1598894"/>
            <a:ext cx="4396341" cy="4200245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FE8E80-A07B-124F-8B4E-82E6530FB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 spc="225"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9625604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8936" y="1591728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8936" y="2201328"/>
            <a:ext cx="4396339" cy="3741738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940120" y="1591728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0120" y="2201328"/>
            <a:ext cx="4396339" cy="3741738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995212-60D7-124F-84AF-E046C34359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56946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9E1E285-0B80-5340-9ABB-2C68583FF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0398204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>
              <a:solidFill>
                <a:schemeClr val="accent4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480ECF-DB9F-8D4C-8BFC-CA6818AE3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3925" y="4057652"/>
            <a:ext cx="7534275" cy="10953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925" y="1976720"/>
            <a:ext cx="7534275" cy="1842807"/>
          </a:xfrm>
          <a:prstGeom prst="rect">
            <a:avLst/>
          </a:prstGeom>
        </p:spPr>
        <p:txBody>
          <a:bodyPr/>
          <a:lstStyle>
            <a:lvl1pPr>
              <a:defRPr sz="450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90" y="6010093"/>
            <a:ext cx="416327" cy="52608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7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933414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l="20715" r="37857"/>
          <a:stretch/>
        </p:blipFill>
        <p:spPr>
          <a:xfrm>
            <a:off x="1" y="0"/>
            <a:ext cx="5050971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1" y="0"/>
            <a:ext cx="5050971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>
              <a:solidFill>
                <a:schemeClr val="accent4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143" y="1780777"/>
            <a:ext cx="3819688" cy="3096025"/>
          </a:xfrm>
          <a:prstGeom prst="rect">
            <a:avLst/>
          </a:prstGeom>
        </p:spPr>
        <p:txBody>
          <a:bodyPr/>
          <a:lstStyle>
            <a:lvl1pPr>
              <a:defRPr sz="450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90" y="6010093"/>
            <a:ext cx="416327" cy="52608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7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BEEFB20-F346-D34C-AE92-D02D17441B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20256" y="1780777"/>
            <a:ext cx="3308059" cy="30960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9752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3735" y="1209675"/>
            <a:ext cx="3401064" cy="1447800"/>
          </a:xfrm>
          <a:prstGeom prst="rect">
            <a:avLst/>
          </a:prstGeom>
        </p:spPr>
        <p:txBody>
          <a:bodyPr anchor="b"/>
          <a:lstStyle>
            <a:lvl1pPr algn="l">
              <a:defRPr sz="1800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3737" y="2891157"/>
            <a:ext cx="3401063" cy="289559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CBE4C0-C38D-A94F-B0EA-B36306C08151}"/>
              </a:ext>
            </a:extLst>
          </p:cNvPr>
          <p:cNvCxnSpPr>
            <a:cxnSpLocks/>
          </p:cNvCxnSpPr>
          <p:nvPr/>
        </p:nvCxnSpPr>
        <p:spPr>
          <a:xfrm>
            <a:off x="4438651" y="1087501"/>
            <a:ext cx="0" cy="4842129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9C3E5EE-E7CA-F846-9999-2A39DDEC2215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4712502" y="1209675"/>
            <a:ext cx="6098373" cy="4577080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428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5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0"/>
            <a:ext cx="108857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2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20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1D9D96-DEE1-8844-9F8C-58215BC7B638}"/>
              </a:ext>
            </a:extLst>
          </p:cNvPr>
          <p:cNvPicPr>
            <a:picLocks noChangeAspect="1"/>
          </p:cNvPicPr>
          <p:nvPr/>
        </p:nvPicPr>
        <p:blipFill>
          <a:blip r:embed="rId25">
            <a:alphaModFix amt="35000"/>
          </a:blip>
          <a:stretch>
            <a:fillRect/>
          </a:stretch>
        </p:blipFill>
        <p:spPr>
          <a:xfrm>
            <a:off x="11277260" y="5861954"/>
            <a:ext cx="473803" cy="598714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C11B457-DE30-F840-909D-BFE9638A9C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0552604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57999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</p:sldLayoutIdLst>
  <p:txStyles>
    <p:titleStyle>
      <a:lvl1pPr algn="l" defTabSz="342900" rtl="0" eaLnBrk="1" latinLnBrk="0" hangingPunct="1">
        <a:spcBef>
          <a:spcPct val="0"/>
        </a:spcBef>
        <a:buNone/>
        <a:defRPr sz="3150" b="0" i="0" kern="1200" spc="225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57175" indent="-257175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4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marL="557213" indent="-214313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2pPr>
      <a:lvl3pPr marL="8572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3pPr>
      <a:lvl4pPr marL="12001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4pPr>
      <a:lvl5pPr marL="15430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5pPr>
      <a:lvl6pPr marL="187950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05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2288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05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25717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05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29146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05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1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2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2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2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tags" Target="../tags/tag10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image" Target="../media/image2.emf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/Relationships>
</file>

<file path=ppt/slides/_rels/slide2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tags" Target="../tags/tag11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image" Target="../media/image2.emf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/Relationships>
</file>

<file path=ppt/slides/_rels/slide2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tags" Target="../tags/tag12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image" Target="../media/image2.emf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/Relationships>
</file>

<file path=ppt/slides/_rels/slide2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image" Target="../media/image2.emf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/Relationships>
</file>

<file path=ppt/slides/_rels/slide2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tags" Target="../tags/tag14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image" Target="../media/image2.emf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/Relationships>
</file>

<file path=ppt/slides/_rels/slide2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tags" Target="../tags/tag15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image" Target="../media/image2.emf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2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5.xml"/></Relationships>
</file>

<file path=ppt/slides/_rels/slide2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B164C-B1C9-024B-BF9A-B396DD7FE9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 dirty="0"/>
              <a:t>Other Clustering Algorithms</a:t>
            </a:r>
          </a:p>
        </p:txBody>
      </p:sp>
    </p:spTree>
    <p:extLst>
      <p:ext uri="{BB962C8B-B14F-4D97-AF65-F5344CB8AC3E}">
        <p14:creationId xmlns:p14="http://schemas.microsoft.com/office/powerpoint/2010/main" val="32075241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bject 80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672029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404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220123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8" y="342927"/>
                </a:lnTo>
                <a:lnTo>
                  <a:pt x="209648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2" y="312410"/>
                </a:lnTo>
                <a:lnTo>
                  <a:pt x="267093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1" y="258782"/>
                </a:lnTo>
                <a:lnTo>
                  <a:pt x="306253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ln w="25399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891861" y="466281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562354" y="248300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5"/>
                </a:lnTo>
                <a:lnTo>
                  <a:pt x="285310" y="282564"/>
                </a:lnTo>
                <a:lnTo>
                  <a:pt x="293193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716732" y="15932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625916" y="369650"/>
            <a:ext cx="6356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K‐Means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625917" y="852250"/>
            <a:ext cx="6545347" cy="914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7F7E7E"/>
                </a:solidFill>
                <a:latin typeface="+mj-lt"/>
                <a:cs typeface="Calibri"/>
              </a:rPr>
              <a:t>Points don’t</a:t>
            </a:r>
            <a:r>
              <a:rPr lang="en-US" sz="4800" baseline="2560" dirty="0">
                <a:solidFill>
                  <a:srgbClr val="7F7E7E"/>
                </a:solidFill>
                <a:latin typeface="+mj-lt"/>
                <a:cs typeface="Calibri"/>
              </a:rPr>
              <a:t> change anymore.</a:t>
            </a:r>
            <a:endParaRPr sz="3200" dirty="0">
              <a:latin typeface="+mj-lt"/>
              <a:cs typeface="Calibri"/>
            </a:endParaRPr>
          </a:p>
          <a:p>
            <a:pPr marL="12700" marR="60960">
              <a:lnSpc>
                <a:spcPts val="3745"/>
              </a:lnSpc>
              <a:spcBef>
                <a:spcPts val="14"/>
              </a:spcBef>
            </a:pPr>
            <a:r>
              <a:rPr sz="3200" dirty="0">
                <a:solidFill>
                  <a:srgbClr val="F69545"/>
                </a:solidFill>
                <a:latin typeface="+mj-lt"/>
                <a:cs typeface="Calibri"/>
              </a:rPr>
              <a:t>Con</a:t>
            </a:r>
            <a:r>
              <a:rPr sz="3200" spc="-4" dirty="0">
                <a:solidFill>
                  <a:srgbClr val="F69545"/>
                </a:solidFill>
                <a:latin typeface="+mj-lt"/>
                <a:cs typeface="Calibri"/>
              </a:rPr>
              <a:t>v</a:t>
            </a:r>
            <a:r>
              <a:rPr sz="3200" dirty="0">
                <a:solidFill>
                  <a:srgbClr val="F69545"/>
                </a:solidFill>
                <a:latin typeface="+mj-lt"/>
                <a:cs typeface="Calibri"/>
              </a:rPr>
              <a:t>erged!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67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891861" y="4662812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7768217" y="2582756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5" name="Group 8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8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8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49" name="object 74"/>
          <p:cNvSpPr/>
          <p:nvPr/>
        </p:nvSpPr>
        <p:spPr>
          <a:xfrm>
            <a:off x="7779632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65865496"/>
      </p:ext>
    </p:extLst>
  </p:cSld>
  <p:clrMapOvr>
    <a:masterClrMapping/>
  </p:clrMapOvr>
  <p:transition spd="med"/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4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5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5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58" name="object 70"/>
          <p:cNvSpPr/>
          <p:nvPr/>
        </p:nvSpPr>
        <p:spPr>
          <a:xfrm>
            <a:off x="5638800" y="2070586"/>
            <a:ext cx="1143000" cy="1980711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6" name="object 70"/>
          <p:cNvSpPr/>
          <p:nvPr/>
        </p:nvSpPr>
        <p:spPr>
          <a:xfrm>
            <a:off x="5638800" y="2070586"/>
            <a:ext cx="1143000" cy="1980711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5"/>
          <p:cNvSpPr txBox="1"/>
          <p:nvPr/>
        </p:nvSpPr>
        <p:spPr>
          <a:xfrm>
            <a:off x="7097662" y="2967915"/>
            <a:ext cx="120813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∆ Income</a:t>
            </a:r>
            <a:endParaRPr sz="2400" dirty="0">
              <a:cs typeface="Calibri"/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5681673" y="2895840"/>
            <a:ext cx="40521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d</a:t>
            </a:r>
            <a:endParaRPr sz="2400" dirty="0">
              <a:cs typeface="Calibri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6931765" y="2070586"/>
            <a:ext cx="0" cy="2124861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47" name="Straight Connector 46"/>
          <p:cNvCxnSpPr/>
          <p:nvPr/>
        </p:nvCxnSpPr>
        <p:spPr>
          <a:xfrm flipH="1">
            <a:off x="5715001" y="4195446"/>
            <a:ext cx="1250093" cy="0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48" name="object 5"/>
          <p:cNvSpPr txBox="1"/>
          <p:nvPr/>
        </p:nvSpPr>
        <p:spPr>
          <a:xfrm>
            <a:off x="5928406" y="4398769"/>
            <a:ext cx="77695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∆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5"/>
          <p:cNvSpPr txBox="1"/>
          <p:nvPr/>
        </p:nvSpPr>
        <p:spPr>
          <a:xfrm>
            <a:off x="2565016" y="545067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(L2 </a:t>
            </a:r>
            <a:r>
              <a:rPr lang="en-US" sz="4800" baseline="1706" dirty="0" err="1">
                <a:solidFill>
                  <a:srgbClr val="7F7E7E"/>
                </a:solidFill>
                <a:latin typeface="+mj-lt"/>
                <a:cs typeface="Calibri"/>
              </a:rPr>
              <a:t>dist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)</a:t>
            </a:r>
            <a:r>
              <a:rPr lang="en-US" sz="4800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3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3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9" name="object 70"/>
          <p:cNvSpPr/>
          <p:nvPr/>
        </p:nvSpPr>
        <p:spPr>
          <a:xfrm>
            <a:off x="5638800" y="2070586"/>
            <a:ext cx="1143000" cy="1980711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5"/>
          <p:cNvSpPr txBox="1"/>
          <p:nvPr/>
        </p:nvSpPr>
        <p:spPr>
          <a:xfrm>
            <a:off x="7097662" y="2967915"/>
            <a:ext cx="120813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∆ Income</a:t>
            </a:r>
            <a:endParaRPr sz="2400" dirty="0">
              <a:cs typeface="Calibri"/>
            </a:endParaRPr>
          </a:p>
        </p:txBody>
      </p:sp>
      <p:sp>
        <p:nvSpPr>
          <p:cNvPr id="44" name="object 5"/>
          <p:cNvSpPr txBox="1"/>
          <p:nvPr/>
        </p:nvSpPr>
        <p:spPr>
          <a:xfrm>
            <a:off x="5681673" y="2895840"/>
            <a:ext cx="40521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d</a:t>
            </a:r>
            <a:endParaRPr sz="2400" dirty="0">
              <a:cs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134217" y="5207914"/>
            <a:ext cx="38456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/>
              <a:t>d = (∆Age)</a:t>
            </a:r>
            <a:r>
              <a:rPr lang="en-US" sz="2800" baseline="30000" dirty="0"/>
              <a:t>2</a:t>
            </a:r>
            <a:r>
              <a:rPr lang="en-US" sz="2800" dirty="0"/>
              <a:t> + (∆Income)</a:t>
            </a:r>
            <a:r>
              <a:rPr lang="en-US" sz="2800" baseline="30000" dirty="0"/>
              <a:t>2 </a:t>
            </a:r>
          </a:p>
        </p:txBody>
      </p:sp>
      <p:sp>
        <p:nvSpPr>
          <p:cNvPr id="45" name="Freeform 44"/>
          <p:cNvSpPr/>
          <p:nvPr/>
        </p:nvSpPr>
        <p:spPr>
          <a:xfrm>
            <a:off x="5520322" y="5206752"/>
            <a:ext cx="3154680" cy="515869"/>
          </a:xfrm>
          <a:custGeom>
            <a:avLst/>
            <a:gdLst>
              <a:gd name="connsiteX0" fmla="*/ 0 w 3230880"/>
              <a:gd name="connsiteY0" fmla="*/ 403860 h 495300"/>
              <a:gd name="connsiteX1" fmla="*/ 91440 w 3230880"/>
              <a:gd name="connsiteY1" fmla="*/ 495300 h 495300"/>
              <a:gd name="connsiteX2" fmla="*/ 91440 w 3230880"/>
              <a:gd name="connsiteY2" fmla="*/ 0 h 495300"/>
              <a:gd name="connsiteX3" fmla="*/ 3230880 w 3230880"/>
              <a:gd name="connsiteY3" fmla="*/ 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0880" h="495300">
                <a:moveTo>
                  <a:pt x="0" y="403860"/>
                </a:moveTo>
                <a:lnTo>
                  <a:pt x="91440" y="495300"/>
                </a:lnTo>
                <a:lnTo>
                  <a:pt x="91440" y="0"/>
                </a:lnTo>
                <a:lnTo>
                  <a:pt x="3230880" y="0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6931765" y="2070586"/>
            <a:ext cx="0" cy="2124861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47" name="Straight Connector 46"/>
          <p:cNvCxnSpPr/>
          <p:nvPr/>
        </p:nvCxnSpPr>
        <p:spPr>
          <a:xfrm flipH="1">
            <a:off x="5715001" y="4195446"/>
            <a:ext cx="1250093" cy="0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48" name="object 5"/>
          <p:cNvSpPr txBox="1"/>
          <p:nvPr/>
        </p:nvSpPr>
        <p:spPr>
          <a:xfrm>
            <a:off x="5928406" y="4398769"/>
            <a:ext cx="77695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∆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5"/>
          <p:cNvSpPr txBox="1"/>
          <p:nvPr/>
        </p:nvSpPr>
        <p:spPr>
          <a:xfrm>
            <a:off x="2565016" y="545067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Manhattan</a:t>
            </a:r>
            <a:r>
              <a:rPr lang="en-US" sz="4800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(</a:t>
            </a:r>
            <a:r>
              <a:rPr lang="en-US" sz="4800" baseline="1706" dirty="0" err="1">
                <a:solidFill>
                  <a:srgbClr val="7F7E7E"/>
                </a:solidFill>
                <a:latin typeface="+mj-lt"/>
                <a:cs typeface="Calibri"/>
              </a:rPr>
              <a:t>Cityblock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err="1">
                <a:solidFill>
                  <a:srgbClr val="7F7E7E"/>
                </a:solidFill>
                <a:latin typeface="+mj-lt"/>
                <a:cs typeface="Calibri"/>
              </a:rPr>
              <a:t>dist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, L1 </a:t>
            </a:r>
            <a:r>
              <a:rPr lang="en-US" sz="4800" baseline="1706" dirty="0" err="1">
                <a:solidFill>
                  <a:srgbClr val="7F7E7E"/>
                </a:solidFill>
                <a:latin typeface="+mj-lt"/>
                <a:cs typeface="Calibri"/>
              </a:rPr>
              <a:t>dist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)</a:t>
            </a:r>
            <a:r>
              <a:rPr lang="en-US" sz="4800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30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3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8" name="object 5"/>
          <p:cNvSpPr txBox="1"/>
          <p:nvPr/>
        </p:nvSpPr>
        <p:spPr>
          <a:xfrm>
            <a:off x="7097662" y="2967915"/>
            <a:ext cx="120813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∆ Income</a:t>
            </a:r>
            <a:endParaRPr sz="2400" dirty="0">
              <a:cs typeface="Calibri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6931765" y="2070586"/>
            <a:ext cx="0" cy="2124861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40" name="Straight Connector 39"/>
          <p:cNvCxnSpPr/>
          <p:nvPr/>
        </p:nvCxnSpPr>
        <p:spPr>
          <a:xfrm flipH="1">
            <a:off x="5715001" y="4195446"/>
            <a:ext cx="1250093" cy="0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41" name="object 5"/>
          <p:cNvSpPr txBox="1"/>
          <p:nvPr/>
        </p:nvSpPr>
        <p:spPr>
          <a:xfrm>
            <a:off x="5928406" y="4398769"/>
            <a:ext cx="77695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∆ Age</a:t>
            </a:r>
            <a:endParaRPr sz="2400" dirty="0">
              <a:cs typeface="Calibri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134217" y="5207914"/>
            <a:ext cx="3578979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/>
              <a:t>d </a:t>
            </a:r>
            <a:r>
              <a:rPr lang="en-US" sz="2800"/>
              <a:t>= |∆Age| + </a:t>
            </a:r>
            <a:r>
              <a:rPr lang="en-US" sz="2800" dirty="0"/>
              <a:t>|</a:t>
            </a:r>
            <a:r>
              <a:rPr lang="en-US" sz="2800"/>
              <a:t>∆Income|</a:t>
            </a:r>
            <a:r>
              <a:rPr lang="en-US" sz="2800" baseline="30000"/>
              <a:t> </a:t>
            </a:r>
            <a:endParaRPr lang="en-US" sz="2800" baseline="30000" dirty="0"/>
          </a:p>
        </p:txBody>
      </p:sp>
    </p:spTree>
  </p:cSld>
  <p:clrMapOvr>
    <a:masterClrMapping/>
  </p:clrMapOvr>
  <p:transition spd="med"/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3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5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5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9"/>
          <p:cNvSpPr/>
          <p:nvPr/>
        </p:nvSpPr>
        <p:spPr>
          <a:xfrm>
            <a:off x="3926392" y="4366262"/>
            <a:ext cx="1476702" cy="1577339"/>
          </a:xfrm>
          <a:custGeom>
            <a:avLst/>
            <a:gdLst/>
            <a:ahLst/>
            <a:cxnLst/>
            <a:rect l="l" t="t" r="r" b="b"/>
            <a:pathLst>
              <a:path w="1535193" h="1612109">
                <a:moveTo>
                  <a:pt x="0" y="1612109"/>
                </a:moveTo>
                <a:lnTo>
                  <a:pt x="1535193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926393" y="2530120"/>
            <a:ext cx="4656674" cy="3413480"/>
          </a:xfrm>
          <a:custGeom>
            <a:avLst/>
            <a:gdLst/>
            <a:ahLst/>
            <a:cxnLst/>
            <a:rect l="l" t="t" r="r" b="b"/>
            <a:pathLst>
              <a:path w="4715166" h="3448252">
                <a:moveTo>
                  <a:pt x="0" y="3448252"/>
                </a:moveTo>
                <a:lnTo>
                  <a:pt x="4715166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6" name="Freeform 35"/>
          <p:cNvSpPr/>
          <p:nvPr/>
        </p:nvSpPr>
        <p:spPr>
          <a:xfrm>
            <a:off x="4017169" y="4743452"/>
            <a:ext cx="1259681" cy="1121569"/>
          </a:xfrm>
          <a:custGeom>
            <a:avLst/>
            <a:gdLst>
              <a:gd name="connsiteX0" fmla="*/ 0 w 1276350"/>
              <a:gd name="connsiteY0" fmla="*/ 1104900 h 1104900"/>
              <a:gd name="connsiteX1" fmla="*/ 1081088 w 1276350"/>
              <a:gd name="connsiteY1" fmla="*/ 0 h 1104900"/>
              <a:gd name="connsiteX2" fmla="*/ 1276350 w 1276350"/>
              <a:gd name="connsiteY2" fmla="*/ 195262 h 1104900"/>
              <a:gd name="connsiteX3" fmla="*/ 0 w 1276350"/>
              <a:gd name="connsiteY3" fmla="*/ 1104900 h 1104900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21569 h 1121569"/>
              <a:gd name="connsiteX1" fmla="*/ 1031082 w 1245394"/>
              <a:gd name="connsiteY1" fmla="*/ 0 h 1121569"/>
              <a:gd name="connsiteX2" fmla="*/ 1245394 w 1245394"/>
              <a:gd name="connsiteY2" fmla="*/ 200024 h 1121569"/>
              <a:gd name="connsiteX3" fmla="*/ 0 w 1245394"/>
              <a:gd name="connsiteY3" fmla="*/ 1121569 h 1121569"/>
              <a:gd name="connsiteX0" fmla="*/ 0 w 1259681"/>
              <a:gd name="connsiteY0" fmla="*/ 1121569 h 1121569"/>
              <a:gd name="connsiteX1" fmla="*/ 1045369 w 1259681"/>
              <a:gd name="connsiteY1" fmla="*/ 0 h 1121569"/>
              <a:gd name="connsiteX2" fmla="*/ 1259681 w 1259681"/>
              <a:gd name="connsiteY2" fmla="*/ 200024 h 1121569"/>
              <a:gd name="connsiteX3" fmla="*/ 0 w 1259681"/>
              <a:gd name="connsiteY3" fmla="*/ 1121569 h 1121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9681" h="1121569">
                <a:moveTo>
                  <a:pt x="0" y="1121569"/>
                </a:moveTo>
                <a:cubicBezTo>
                  <a:pt x="333375" y="739775"/>
                  <a:pt x="695325" y="372269"/>
                  <a:pt x="1045369" y="0"/>
                </a:cubicBezTo>
                <a:lnTo>
                  <a:pt x="1259681" y="200024"/>
                </a:lnTo>
                <a:lnTo>
                  <a:pt x="0" y="1121569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 spd="med"/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9" name="object 19"/>
          <p:cNvSpPr/>
          <p:nvPr/>
        </p:nvSpPr>
        <p:spPr>
          <a:xfrm>
            <a:off x="3926392" y="4366262"/>
            <a:ext cx="1476702" cy="1577339"/>
          </a:xfrm>
          <a:custGeom>
            <a:avLst/>
            <a:gdLst/>
            <a:ahLst/>
            <a:cxnLst/>
            <a:rect l="l" t="t" r="r" b="b"/>
            <a:pathLst>
              <a:path w="1535193" h="1612109">
                <a:moveTo>
                  <a:pt x="0" y="1612109"/>
                </a:moveTo>
                <a:lnTo>
                  <a:pt x="1535193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4"/>
          <p:cNvSpPr/>
          <p:nvPr/>
        </p:nvSpPr>
        <p:spPr>
          <a:xfrm>
            <a:off x="3926393" y="4876801"/>
            <a:ext cx="1476701" cy="1066799"/>
          </a:xfrm>
          <a:custGeom>
            <a:avLst/>
            <a:gdLst/>
            <a:ahLst/>
            <a:cxnLst/>
            <a:rect l="l" t="t" r="r" b="b"/>
            <a:pathLst>
              <a:path w="4715166" h="3448252">
                <a:moveTo>
                  <a:pt x="0" y="3448252"/>
                </a:moveTo>
                <a:lnTo>
                  <a:pt x="4715166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8"/>
          <p:cNvSpPr/>
          <p:nvPr/>
        </p:nvSpPr>
        <p:spPr>
          <a:xfrm>
            <a:off x="5367624" y="46151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4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3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8" name="Freeform 37"/>
          <p:cNvSpPr/>
          <p:nvPr/>
        </p:nvSpPr>
        <p:spPr>
          <a:xfrm>
            <a:off x="4017169" y="4743452"/>
            <a:ext cx="1259681" cy="1121569"/>
          </a:xfrm>
          <a:custGeom>
            <a:avLst/>
            <a:gdLst>
              <a:gd name="connsiteX0" fmla="*/ 0 w 1276350"/>
              <a:gd name="connsiteY0" fmla="*/ 1104900 h 1104900"/>
              <a:gd name="connsiteX1" fmla="*/ 1081088 w 1276350"/>
              <a:gd name="connsiteY1" fmla="*/ 0 h 1104900"/>
              <a:gd name="connsiteX2" fmla="*/ 1276350 w 1276350"/>
              <a:gd name="connsiteY2" fmla="*/ 195262 h 1104900"/>
              <a:gd name="connsiteX3" fmla="*/ 0 w 1276350"/>
              <a:gd name="connsiteY3" fmla="*/ 1104900 h 1104900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21569 h 1121569"/>
              <a:gd name="connsiteX1" fmla="*/ 1031082 w 1245394"/>
              <a:gd name="connsiteY1" fmla="*/ 0 h 1121569"/>
              <a:gd name="connsiteX2" fmla="*/ 1245394 w 1245394"/>
              <a:gd name="connsiteY2" fmla="*/ 200024 h 1121569"/>
              <a:gd name="connsiteX3" fmla="*/ 0 w 1245394"/>
              <a:gd name="connsiteY3" fmla="*/ 1121569 h 1121569"/>
              <a:gd name="connsiteX0" fmla="*/ 0 w 1259681"/>
              <a:gd name="connsiteY0" fmla="*/ 1121569 h 1121569"/>
              <a:gd name="connsiteX1" fmla="*/ 1045369 w 1259681"/>
              <a:gd name="connsiteY1" fmla="*/ 0 h 1121569"/>
              <a:gd name="connsiteX2" fmla="*/ 1259681 w 1259681"/>
              <a:gd name="connsiteY2" fmla="*/ 200024 h 1121569"/>
              <a:gd name="connsiteX3" fmla="*/ 0 w 1259681"/>
              <a:gd name="connsiteY3" fmla="*/ 1121569 h 1121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9681" h="1121569">
                <a:moveTo>
                  <a:pt x="0" y="1121569"/>
                </a:moveTo>
                <a:cubicBezTo>
                  <a:pt x="333375" y="739775"/>
                  <a:pt x="695325" y="372269"/>
                  <a:pt x="1045369" y="0"/>
                </a:cubicBezTo>
                <a:lnTo>
                  <a:pt x="1259681" y="200024"/>
                </a:lnTo>
                <a:lnTo>
                  <a:pt x="0" y="1121569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39674F-7235-7C49-9C15-052CDCEE6D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ierarchical Agglomerative Cluster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4E3A2F-BDC4-024C-9DD2-35DF81C7AF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12436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1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5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5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8088541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 34"/>
          <p:cNvSpPr/>
          <p:nvPr/>
        </p:nvSpPr>
        <p:spPr>
          <a:xfrm>
            <a:off x="3970166" y="4784614"/>
            <a:ext cx="2023771" cy="1139243"/>
          </a:xfrm>
          <a:custGeom>
            <a:avLst/>
            <a:gdLst>
              <a:gd name="connsiteX0" fmla="*/ 0 w 1276350"/>
              <a:gd name="connsiteY0" fmla="*/ 1104900 h 1104900"/>
              <a:gd name="connsiteX1" fmla="*/ 1081088 w 1276350"/>
              <a:gd name="connsiteY1" fmla="*/ 0 h 1104900"/>
              <a:gd name="connsiteX2" fmla="*/ 1276350 w 1276350"/>
              <a:gd name="connsiteY2" fmla="*/ 195262 h 1104900"/>
              <a:gd name="connsiteX3" fmla="*/ 0 w 1276350"/>
              <a:gd name="connsiteY3" fmla="*/ 1104900 h 1104900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21569 h 1121569"/>
              <a:gd name="connsiteX1" fmla="*/ 1031082 w 1245394"/>
              <a:gd name="connsiteY1" fmla="*/ 0 h 1121569"/>
              <a:gd name="connsiteX2" fmla="*/ 1245394 w 1245394"/>
              <a:gd name="connsiteY2" fmla="*/ 200024 h 1121569"/>
              <a:gd name="connsiteX3" fmla="*/ 0 w 1245394"/>
              <a:gd name="connsiteY3" fmla="*/ 1121569 h 1121569"/>
              <a:gd name="connsiteX0" fmla="*/ 0 w 1259681"/>
              <a:gd name="connsiteY0" fmla="*/ 1121569 h 1121569"/>
              <a:gd name="connsiteX1" fmla="*/ 1045369 w 1259681"/>
              <a:gd name="connsiteY1" fmla="*/ 0 h 1121569"/>
              <a:gd name="connsiteX2" fmla="*/ 1259681 w 1259681"/>
              <a:gd name="connsiteY2" fmla="*/ 200024 h 1121569"/>
              <a:gd name="connsiteX3" fmla="*/ 0 w 1259681"/>
              <a:gd name="connsiteY3" fmla="*/ 1121569 h 1121569"/>
              <a:gd name="connsiteX0" fmla="*/ 0 w 1983581"/>
              <a:gd name="connsiteY0" fmla="*/ 1121569 h 1121569"/>
              <a:gd name="connsiteX1" fmla="*/ 1045369 w 1983581"/>
              <a:gd name="connsiteY1" fmla="*/ 0 h 1121569"/>
              <a:gd name="connsiteX2" fmla="*/ 1983581 w 1983581"/>
              <a:gd name="connsiteY2" fmla="*/ 946784 h 1121569"/>
              <a:gd name="connsiteX3" fmla="*/ 0 w 1983581"/>
              <a:gd name="connsiteY3" fmla="*/ 1121569 h 1121569"/>
              <a:gd name="connsiteX0" fmla="*/ 0 w 1983581"/>
              <a:gd name="connsiteY0" fmla="*/ 1121569 h 1121569"/>
              <a:gd name="connsiteX1" fmla="*/ 1045369 w 1983581"/>
              <a:gd name="connsiteY1" fmla="*/ 0 h 1121569"/>
              <a:gd name="connsiteX2" fmla="*/ 1983581 w 1983581"/>
              <a:gd name="connsiteY2" fmla="*/ 946784 h 1121569"/>
              <a:gd name="connsiteX3" fmla="*/ 0 w 1983581"/>
              <a:gd name="connsiteY3" fmla="*/ 1121569 h 1121569"/>
              <a:gd name="connsiteX0" fmla="*/ 9220 w 1992801"/>
              <a:gd name="connsiteY0" fmla="*/ 1121569 h 1169304"/>
              <a:gd name="connsiteX1" fmla="*/ 1054589 w 1992801"/>
              <a:gd name="connsiteY1" fmla="*/ 0 h 1169304"/>
              <a:gd name="connsiteX2" fmla="*/ 1992801 w 1992801"/>
              <a:gd name="connsiteY2" fmla="*/ 946784 h 1169304"/>
              <a:gd name="connsiteX3" fmla="*/ 625672 w 1992801"/>
              <a:gd name="connsiteY3" fmla="*/ 960868 h 1169304"/>
              <a:gd name="connsiteX4" fmla="*/ 9220 w 1992801"/>
              <a:gd name="connsiteY4" fmla="*/ 1121569 h 1169304"/>
              <a:gd name="connsiteX0" fmla="*/ 8752 w 1992333"/>
              <a:gd name="connsiteY0" fmla="*/ 1121569 h 1180202"/>
              <a:gd name="connsiteX1" fmla="*/ 1054121 w 1992333"/>
              <a:gd name="connsiteY1" fmla="*/ 0 h 1180202"/>
              <a:gd name="connsiteX2" fmla="*/ 1992333 w 1992333"/>
              <a:gd name="connsiteY2" fmla="*/ 946784 h 1180202"/>
              <a:gd name="connsiteX3" fmla="*/ 648064 w 1992333"/>
              <a:gd name="connsiteY3" fmla="*/ 1037068 h 1180202"/>
              <a:gd name="connsiteX4" fmla="*/ 8752 w 1992333"/>
              <a:gd name="connsiteY4" fmla="*/ 1121569 h 1180202"/>
              <a:gd name="connsiteX0" fmla="*/ 8752 w 1992333"/>
              <a:gd name="connsiteY0" fmla="*/ 1121569 h 1180202"/>
              <a:gd name="connsiteX1" fmla="*/ 1054121 w 1992333"/>
              <a:gd name="connsiteY1" fmla="*/ 0 h 1180202"/>
              <a:gd name="connsiteX2" fmla="*/ 1992333 w 1992333"/>
              <a:gd name="connsiteY2" fmla="*/ 946784 h 1180202"/>
              <a:gd name="connsiteX3" fmla="*/ 648064 w 1992333"/>
              <a:gd name="connsiteY3" fmla="*/ 1037068 h 1180202"/>
              <a:gd name="connsiteX4" fmla="*/ 8752 w 1992333"/>
              <a:gd name="connsiteY4" fmla="*/ 1121569 h 1180202"/>
              <a:gd name="connsiteX0" fmla="*/ 8616 w 1992197"/>
              <a:gd name="connsiteY0" fmla="*/ 1121569 h 1188102"/>
              <a:gd name="connsiteX1" fmla="*/ 1053985 w 1992197"/>
              <a:gd name="connsiteY1" fmla="*/ 0 h 1188102"/>
              <a:gd name="connsiteX2" fmla="*/ 1992197 w 1992197"/>
              <a:gd name="connsiteY2" fmla="*/ 946784 h 1188102"/>
              <a:gd name="connsiteX3" fmla="*/ 647928 w 1992197"/>
              <a:gd name="connsiteY3" fmla="*/ 1037068 h 1188102"/>
              <a:gd name="connsiteX4" fmla="*/ 8616 w 1992197"/>
              <a:gd name="connsiteY4" fmla="*/ 1121569 h 1188102"/>
              <a:gd name="connsiteX0" fmla="*/ 7950 w 1991531"/>
              <a:gd name="connsiteY0" fmla="*/ 1121569 h 1195393"/>
              <a:gd name="connsiteX1" fmla="*/ 1053319 w 1991531"/>
              <a:gd name="connsiteY1" fmla="*/ 0 h 1195393"/>
              <a:gd name="connsiteX2" fmla="*/ 1991531 w 1991531"/>
              <a:gd name="connsiteY2" fmla="*/ 946784 h 1195393"/>
              <a:gd name="connsiteX3" fmla="*/ 685362 w 1991531"/>
              <a:gd name="connsiteY3" fmla="*/ 1067548 h 1195393"/>
              <a:gd name="connsiteX4" fmla="*/ 7950 w 1991531"/>
              <a:gd name="connsiteY4" fmla="*/ 1121569 h 1195393"/>
              <a:gd name="connsiteX0" fmla="*/ 8881 w 1992462"/>
              <a:gd name="connsiteY0" fmla="*/ 1121569 h 1186057"/>
              <a:gd name="connsiteX1" fmla="*/ 1054250 w 1992462"/>
              <a:gd name="connsiteY1" fmla="*/ 0 h 1186057"/>
              <a:gd name="connsiteX2" fmla="*/ 1992462 w 1992462"/>
              <a:gd name="connsiteY2" fmla="*/ 946784 h 1186057"/>
              <a:gd name="connsiteX3" fmla="*/ 686293 w 1992462"/>
              <a:gd name="connsiteY3" fmla="*/ 1067548 h 1186057"/>
              <a:gd name="connsiteX4" fmla="*/ 8881 w 1992462"/>
              <a:gd name="connsiteY4" fmla="*/ 1121569 h 1186057"/>
              <a:gd name="connsiteX0" fmla="*/ 93745 w 2077326"/>
              <a:gd name="connsiteY0" fmla="*/ 1121569 h 1284116"/>
              <a:gd name="connsiteX1" fmla="*/ 1139114 w 2077326"/>
              <a:gd name="connsiteY1" fmla="*/ 0 h 1284116"/>
              <a:gd name="connsiteX2" fmla="*/ 2077326 w 2077326"/>
              <a:gd name="connsiteY2" fmla="*/ 946784 h 1284116"/>
              <a:gd name="connsiteX3" fmla="*/ 771157 w 2077326"/>
              <a:gd name="connsiteY3" fmla="*/ 1067548 h 1284116"/>
              <a:gd name="connsiteX4" fmla="*/ 93745 w 2077326"/>
              <a:gd name="connsiteY4" fmla="*/ 1121569 h 1284116"/>
              <a:gd name="connsiteX0" fmla="*/ 6393 w 1989974"/>
              <a:gd name="connsiteY0" fmla="*/ 1121569 h 1162981"/>
              <a:gd name="connsiteX1" fmla="*/ 1051762 w 1989974"/>
              <a:gd name="connsiteY1" fmla="*/ 0 h 1162981"/>
              <a:gd name="connsiteX2" fmla="*/ 1989974 w 1989974"/>
              <a:gd name="connsiteY2" fmla="*/ 946784 h 1162981"/>
              <a:gd name="connsiteX3" fmla="*/ 683805 w 1989974"/>
              <a:gd name="connsiteY3" fmla="*/ 1067548 h 1162981"/>
              <a:gd name="connsiteX4" fmla="*/ 6393 w 1989974"/>
              <a:gd name="connsiteY4" fmla="*/ 1121569 h 1162981"/>
              <a:gd name="connsiteX0" fmla="*/ 623 w 1984204"/>
              <a:gd name="connsiteY0" fmla="*/ 1121569 h 1140081"/>
              <a:gd name="connsiteX1" fmla="*/ 1045992 w 1984204"/>
              <a:gd name="connsiteY1" fmla="*/ 0 h 1140081"/>
              <a:gd name="connsiteX2" fmla="*/ 1984204 w 1984204"/>
              <a:gd name="connsiteY2" fmla="*/ 946784 h 1140081"/>
              <a:gd name="connsiteX3" fmla="*/ 678035 w 1984204"/>
              <a:gd name="connsiteY3" fmla="*/ 1067548 h 1140081"/>
              <a:gd name="connsiteX4" fmla="*/ 623 w 1984204"/>
              <a:gd name="connsiteY4" fmla="*/ 1121569 h 1140081"/>
              <a:gd name="connsiteX0" fmla="*/ 623 w 2032736"/>
              <a:gd name="connsiteY0" fmla="*/ 1121569 h 1140081"/>
              <a:gd name="connsiteX1" fmla="*/ 1045992 w 2032736"/>
              <a:gd name="connsiteY1" fmla="*/ 0 h 1140081"/>
              <a:gd name="connsiteX2" fmla="*/ 1984204 w 2032736"/>
              <a:gd name="connsiteY2" fmla="*/ 946784 h 1140081"/>
              <a:gd name="connsiteX3" fmla="*/ 678035 w 2032736"/>
              <a:gd name="connsiteY3" fmla="*/ 1067548 h 1140081"/>
              <a:gd name="connsiteX4" fmla="*/ 623 w 2032736"/>
              <a:gd name="connsiteY4" fmla="*/ 1121569 h 1140081"/>
              <a:gd name="connsiteX0" fmla="*/ 623 w 1997457"/>
              <a:gd name="connsiteY0" fmla="*/ 1121569 h 1140081"/>
              <a:gd name="connsiteX1" fmla="*/ 1045992 w 1997457"/>
              <a:gd name="connsiteY1" fmla="*/ 0 h 1140081"/>
              <a:gd name="connsiteX2" fmla="*/ 1984204 w 1997457"/>
              <a:gd name="connsiteY2" fmla="*/ 946784 h 1140081"/>
              <a:gd name="connsiteX3" fmla="*/ 678035 w 1997457"/>
              <a:gd name="connsiteY3" fmla="*/ 1067548 h 1140081"/>
              <a:gd name="connsiteX4" fmla="*/ 623 w 1997457"/>
              <a:gd name="connsiteY4" fmla="*/ 1121569 h 1140081"/>
              <a:gd name="connsiteX0" fmla="*/ 623 w 2033210"/>
              <a:gd name="connsiteY0" fmla="*/ 1121569 h 1140081"/>
              <a:gd name="connsiteX1" fmla="*/ 1045992 w 2033210"/>
              <a:gd name="connsiteY1" fmla="*/ 0 h 1140081"/>
              <a:gd name="connsiteX2" fmla="*/ 1984204 w 2033210"/>
              <a:gd name="connsiteY2" fmla="*/ 946784 h 1140081"/>
              <a:gd name="connsiteX3" fmla="*/ 678035 w 2033210"/>
              <a:gd name="connsiteY3" fmla="*/ 1067548 h 1140081"/>
              <a:gd name="connsiteX4" fmla="*/ 623 w 2033210"/>
              <a:gd name="connsiteY4" fmla="*/ 1121569 h 1140081"/>
              <a:gd name="connsiteX0" fmla="*/ 623 w 1985752"/>
              <a:gd name="connsiteY0" fmla="*/ 1121569 h 1140081"/>
              <a:gd name="connsiteX1" fmla="*/ 1045992 w 1985752"/>
              <a:gd name="connsiteY1" fmla="*/ 0 h 1140081"/>
              <a:gd name="connsiteX2" fmla="*/ 1984204 w 1985752"/>
              <a:gd name="connsiteY2" fmla="*/ 946784 h 1140081"/>
              <a:gd name="connsiteX3" fmla="*/ 678035 w 1985752"/>
              <a:gd name="connsiteY3" fmla="*/ 1067548 h 1140081"/>
              <a:gd name="connsiteX4" fmla="*/ 623 w 1985752"/>
              <a:gd name="connsiteY4" fmla="*/ 1121569 h 1140081"/>
              <a:gd name="connsiteX0" fmla="*/ 623 w 2000959"/>
              <a:gd name="connsiteY0" fmla="*/ 1121569 h 1139567"/>
              <a:gd name="connsiteX1" fmla="*/ 1045992 w 2000959"/>
              <a:gd name="connsiteY1" fmla="*/ 0 h 1139567"/>
              <a:gd name="connsiteX2" fmla="*/ 1999444 w 2000959"/>
              <a:gd name="connsiteY2" fmla="*/ 969644 h 1139567"/>
              <a:gd name="connsiteX3" fmla="*/ 678035 w 2000959"/>
              <a:gd name="connsiteY3" fmla="*/ 1067548 h 1139567"/>
              <a:gd name="connsiteX4" fmla="*/ 623 w 2000959"/>
              <a:gd name="connsiteY4" fmla="*/ 1121569 h 1139567"/>
              <a:gd name="connsiteX0" fmla="*/ 623 w 2023771"/>
              <a:gd name="connsiteY0" fmla="*/ 1121569 h 1139243"/>
              <a:gd name="connsiteX1" fmla="*/ 1045992 w 2023771"/>
              <a:gd name="connsiteY1" fmla="*/ 0 h 1139243"/>
              <a:gd name="connsiteX2" fmla="*/ 2022304 w 2023771"/>
              <a:gd name="connsiteY2" fmla="*/ 984884 h 1139243"/>
              <a:gd name="connsiteX3" fmla="*/ 678035 w 2023771"/>
              <a:gd name="connsiteY3" fmla="*/ 1067548 h 1139243"/>
              <a:gd name="connsiteX4" fmla="*/ 623 w 2023771"/>
              <a:gd name="connsiteY4" fmla="*/ 1121569 h 113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3771" h="1139243">
                <a:moveTo>
                  <a:pt x="623" y="1121569"/>
                </a:moveTo>
                <a:cubicBezTo>
                  <a:pt x="-24142" y="1067435"/>
                  <a:pt x="695948" y="372269"/>
                  <a:pt x="1045992" y="0"/>
                </a:cubicBezTo>
                <a:cubicBezTo>
                  <a:pt x="1358729" y="315595"/>
                  <a:pt x="2060087" y="1012189"/>
                  <a:pt x="2022304" y="984884"/>
                </a:cubicBezTo>
                <a:cubicBezTo>
                  <a:pt x="1984521" y="957579"/>
                  <a:pt x="1014982" y="1044767"/>
                  <a:pt x="678035" y="1067548"/>
                </a:cubicBezTo>
                <a:cubicBezTo>
                  <a:pt x="341088" y="1090329"/>
                  <a:pt x="25388" y="1175703"/>
                  <a:pt x="623" y="1121569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bject 21"/>
          <p:cNvSpPr/>
          <p:nvPr/>
        </p:nvSpPr>
        <p:spPr>
          <a:xfrm>
            <a:off x="3907438" y="4366262"/>
            <a:ext cx="1495657" cy="1577339"/>
          </a:xfrm>
          <a:custGeom>
            <a:avLst/>
            <a:gdLst/>
            <a:ahLst/>
            <a:cxnLst/>
            <a:rect l="l" t="t" r="r" b="b"/>
            <a:pathLst>
              <a:path w="1535193" h="1612109">
                <a:moveTo>
                  <a:pt x="0" y="1612109"/>
                </a:moveTo>
                <a:lnTo>
                  <a:pt x="1535193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907437" y="5697333"/>
            <a:ext cx="2991304" cy="243619"/>
          </a:xfrm>
          <a:custGeom>
            <a:avLst/>
            <a:gdLst/>
            <a:ahLst/>
            <a:cxnLst/>
            <a:rect l="l" t="t" r="r" b="b"/>
            <a:pathLst>
              <a:path w="3030840" h="281041">
                <a:moveTo>
                  <a:pt x="0" y="281041"/>
                </a:moveTo>
                <a:lnTo>
                  <a:pt x="3030840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object 2"/>
          <p:cNvSpPr txBox="1"/>
          <p:nvPr/>
        </p:nvSpPr>
        <p:spPr>
          <a:xfrm>
            <a:off x="3867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6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0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3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5"/>
          <p:cNvSpPr txBox="1"/>
          <p:nvPr/>
        </p:nvSpPr>
        <p:spPr>
          <a:xfrm>
            <a:off x="2565016" y="545067"/>
            <a:ext cx="7874384" cy="9354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12" name="object 6"/>
          <p:cNvSpPr txBox="1"/>
          <p:nvPr/>
        </p:nvSpPr>
        <p:spPr>
          <a:xfrm>
            <a:off x="3505200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20" name="object 5"/>
          <p:cNvSpPr txBox="1"/>
          <p:nvPr/>
        </p:nvSpPr>
        <p:spPr>
          <a:xfrm>
            <a:off x="6595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5"/>
          <p:cNvSpPr txBox="1"/>
          <p:nvPr/>
        </p:nvSpPr>
        <p:spPr>
          <a:xfrm>
            <a:off x="2565016" y="545067"/>
            <a:ext cx="7874384" cy="9354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4" name="object 6"/>
          <p:cNvSpPr txBox="1"/>
          <p:nvPr/>
        </p:nvSpPr>
        <p:spPr>
          <a:xfrm>
            <a:off x="3505200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25" name="object 5"/>
          <p:cNvSpPr txBox="1"/>
          <p:nvPr/>
        </p:nvSpPr>
        <p:spPr>
          <a:xfrm>
            <a:off x="6595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2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6" name="object 6"/>
          <p:cNvSpPr txBox="1"/>
          <p:nvPr/>
        </p:nvSpPr>
        <p:spPr>
          <a:xfrm>
            <a:off x="7221936" y="1906202"/>
            <a:ext cx="3065064" cy="6935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Bo, Hi! Hi? Hi Bo. Bo. Hi? Hi. Hi!”</a:t>
            </a:r>
            <a:endParaRPr sz="2400" dirty="0">
              <a:cs typeface="Calibri"/>
            </a:endParaRPr>
          </a:p>
        </p:txBody>
      </p:sp>
      <p:sp>
        <p:nvSpPr>
          <p:cNvPr id="40" name="object 6"/>
          <p:cNvSpPr txBox="1"/>
          <p:nvPr/>
        </p:nvSpPr>
        <p:spPr>
          <a:xfrm>
            <a:off x="5252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Hi Bo. Hi!”</a:t>
            </a:r>
            <a:endParaRPr sz="2400" dirty="0">
              <a:cs typeface="Calibri"/>
            </a:endParaRPr>
          </a:p>
        </p:txBody>
      </p:sp>
      <p:sp>
        <p:nvSpPr>
          <p:cNvPr id="41" name="object 48"/>
          <p:cNvSpPr/>
          <p:nvPr/>
        </p:nvSpPr>
        <p:spPr>
          <a:xfrm>
            <a:off x="4757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68"/>
          <p:cNvSpPr/>
          <p:nvPr/>
        </p:nvSpPr>
        <p:spPr>
          <a:xfrm>
            <a:off x="6586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/>
          <p:nvPr/>
        </p:nvSpPr>
        <p:spPr>
          <a:xfrm>
            <a:off x="3732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732183" y="2092961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894853" y="5943601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598812" y="5943601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525595" y="1933666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525595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502209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794454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5"/>
          <p:cNvSpPr txBox="1"/>
          <p:nvPr/>
        </p:nvSpPr>
        <p:spPr>
          <a:xfrm>
            <a:off x="2565016" y="545067"/>
            <a:ext cx="7874384" cy="9354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35" name="object 6"/>
          <p:cNvSpPr txBox="1"/>
          <p:nvPr/>
        </p:nvSpPr>
        <p:spPr>
          <a:xfrm>
            <a:off x="3505200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36" name="object 5"/>
          <p:cNvSpPr txBox="1"/>
          <p:nvPr/>
        </p:nvSpPr>
        <p:spPr>
          <a:xfrm>
            <a:off x="6595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38" name="object 67"/>
          <p:cNvSpPr/>
          <p:nvPr/>
        </p:nvSpPr>
        <p:spPr>
          <a:xfrm>
            <a:off x="3907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6"/>
          <p:cNvSpPr txBox="1"/>
          <p:nvPr/>
        </p:nvSpPr>
        <p:spPr>
          <a:xfrm>
            <a:off x="5252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Hi Bo. Hi!”</a:t>
            </a:r>
            <a:endParaRPr sz="2400" dirty="0">
              <a:cs typeface="Calibri"/>
            </a:endParaRPr>
          </a:p>
        </p:txBody>
      </p:sp>
      <p:sp>
        <p:nvSpPr>
          <p:cNvPr id="43" name="object 6"/>
          <p:cNvSpPr txBox="1"/>
          <p:nvPr/>
        </p:nvSpPr>
        <p:spPr>
          <a:xfrm>
            <a:off x="7221936" y="1906202"/>
            <a:ext cx="3065064" cy="6935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Bo, Hi! Hi? Hi Bo. Bo. Hi? Hi. Hi!”</a:t>
            </a:r>
            <a:endParaRPr sz="2400" dirty="0">
              <a:cs typeface="Calibri"/>
            </a:endParaRPr>
          </a:p>
        </p:txBody>
      </p:sp>
      <p:sp>
        <p:nvSpPr>
          <p:cNvPr id="44" name="object 48"/>
          <p:cNvSpPr/>
          <p:nvPr/>
        </p:nvSpPr>
        <p:spPr>
          <a:xfrm>
            <a:off x="4757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68"/>
          <p:cNvSpPr/>
          <p:nvPr/>
        </p:nvSpPr>
        <p:spPr>
          <a:xfrm>
            <a:off x="6586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5"/>
          <p:cNvSpPr txBox="1"/>
          <p:nvPr/>
        </p:nvSpPr>
        <p:spPr>
          <a:xfrm>
            <a:off x="2565016" y="545067"/>
            <a:ext cx="7874384" cy="9354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39" name="object 27"/>
          <p:cNvSpPr/>
          <p:nvPr/>
        </p:nvSpPr>
        <p:spPr>
          <a:xfrm>
            <a:off x="3732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29"/>
          <p:cNvSpPr/>
          <p:nvPr/>
        </p:nvSpPr>
        <p:spPr>
          <a:xfrm>
            <a:off x="3732183" y="2092961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31"/>
          <p:cNvSpPr/>
          <p:nvPr/>
        </p:nvSpPr>
        <p:spPr>
          <a:xfrm>
            <a:off x="4894853" y="5943601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33"/>
          <p:cNvSpPr/>
          <p:nvPr/>
        </p:nvSpPr>
        <p:spPr>
          <a:xfrm>
            <a:off x="6598812" y="5943601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8"/>
          <p:cNvSpPr txBox="1"/>
          <p:nvPr/>
        </p:nvSpPr>
        <p:spPr>
          <a:xfrm>
            <a:off x="3525595" y="1933666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4" name="object 6"/>
          <p:cNvSpPr txBox="1"/>
          <p:nvPr/>
        </p:nvSpPr>
        <p:spPr>
          <a:xfrm>
            <a:off x="3525595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5" name="object 4"/>
          <p:cNvSpPr txBox="1"/>
          <p:nvPr/>
        </p:nvSpPr>
        <p:spPr>
          <a:xfrm>
            <a:off x="6502209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3"/>
          <p:cNvSpPr txBox="1"/>
          <p:nvPr/>
        </p:nvSpPr>
        <p:spPr>
          <a:xfrm>
            <a:off x="4794454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7" name="object 6"/>
          <p:cNvSpPr txBox="1"/>
          <p:nvPr/>
        </p:nvSpPr>
        <p:spPr>
          <a:xfrm>
            <a:off x="3505200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48" name="object 5"/>
          <p:cNvSpPr txBox="1"/>
          <p:nvPr/>
        </p:nvSpPr>
        <p:spPr>
          <a:xfrm>
            <a:off x="6595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49" name="object 67"/>
          <p:cNvSpPr/>
          <p:nvPr/>
        </p:nvSpPr>
        <p:spPr>
          <a:xfrm>
            <a:off x="3907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6"/>
          <p:cNvSpPr txBox="1"/>
          <p:nvPr/>
        </p:nvSpPr>
        <p:spPr>
          <a:xfrm>
            <a:off x="5252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Hi Bo. Hi!”</a:t>
            </a:r>
            <a:endParaRPr sz="2400" dirty="0">
              <a:cs typeface="Calibri"/>
            </a:endParaRPr>
          </a:p>
        </p:txBody>
      </p:sp>
      <p:sp>
        <p:nvSpPr>
          <p:cNvPr id="54" name="object 6"/>
          <p:cNvSpPr txBox="1"/>
          <p:nvPr/>
        </p:nvSpPr>
        <p:spPr>
          <a:xfrm>
            <a:off x="7221936" y="1906202"/>
            <a:ext cx="3065064" cy="6935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Bo, Hi! Hi? Hi Bo. Bo. Hi? Hi. Hi!”</a:t>
            </a:r>
            <a:endParaRPr sz="2400" dirty="0">
              <a:cs typeface="Calibri"/>
            </a:endParaRPr>
          </a:p>
        </p:txBody>
      </p:sp>
      <p:sp>
        <p:nvSpPr>
          <p:cNvPr id="56" name="object 6"/>
          <p:cNvSpPr txBox="1"/>
          <p:nvPr/>
        </p:nvSpPr>
        <p:spPr>
          <a:xfrm>
            <a:off x="6148382" y="3107712"/>
            <a:ext cx="2638434" cy="33342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Euclidean </a:t>
            </a:r>
            <a:r>
              <a:rPr lang="en-US" sz="3600" baseline="2275" dirty="0" err="1">
                <a:solidFill>
                  <a:srgbClr val="F69545"/>
                </a:solidFill>
                <a:cs typeface="Calibri"/>
              </a:rPr>
              <a:t>dist</a:t>
            </a: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 = 4.47 </a:t>
            </a:r>
          </a:p>
        </p:txBody>
      </p:sp>
      <p:sp>
        <p:nvSpPr>
          <p:cNvPr id="57" name="object 48"/>
          <p:cNvSpPr/>
          <p:nvPr/>
        </p:nvSpPr>
        <p:spPr>
          <a:xfrm>
            <a:off x="4757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68"/>
          <p:cNvSpPr/>
          <p:nvPr/>
        </p:nvSpPr>
        <p:spPr>
          <a:xfrm>
            <a:off x="6586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70"/>
          <p:cNvSpPr/>
          <p:nvPr/>
        </p:nvSpPr>
        <p:spPr>
          <a:xfrm>
            <a:off x="5020056" y="2209800"/>
            <a:ext cx="1609344" cy="216712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5"/>
          <p:cNvSpPr txBox="1"/>
          <p:nvPr/>
        </p:nvSpPr>
        <p:spPr>
          <a:xfrm>
            <a:off x="2565016" y="545067"/>
            <a:ext cx="7874384" cy="9354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42" name="object 27"/>
          <p:cNvSpPr/>
          <p:nvPr/>
        </p:nvSpPr>
        <p:spPr>
          <a:xfrm>
            <a:off x="3732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29"/>
          <p:cNvSpPr/>
          <p:nvPr/>
        </p:nvSpPr>
        <p:spPr>
          <a:xfrm>
            <a:off x="3732183" y="2092961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31"/>
          <p:cNvSpPr/>
          <p:nvPr/>
        </p:nvSpPr>
        <p:spPr>
          <a:xfrm>
            <a:off x="4894853" y="5943601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33"/>
          <p:cNvSpPr/>
          <p:nvPr/>
        </p:nvSpPr>
        <p:spPr>
          <a:xfrm>
            <a:off x="6598812" y="5943601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8"/>
          <p:cNvSpPr txBox="1"/>
          <p:nvPr/>
        </p:nvSpPr>
        <p:spPr>
          <a:xfrm>
            <a:off x="3525595" y="1933666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7" name="object 6"/>
          <p:cNvSpPr txBox="1"/>
          <p:nvPr/>
        </p:nvSpPr>
        <p:spPr>
          <a:xfrm>
            <a:off x="3525595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8" name="object 4"/>
          <p:cNvSpPr txBox="1"/>
          <p:nvPr/>
        </p:nvSpPr>
        <p:spPr>
          <a:xfrm>
            <a:off x="6502209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9" name="object 3"/>
          <p:cNvSpPr txBox="1"/>
          <p:nvPr/>
        </p:nvSpPr>
        <p:spPr>
          <a:xfrm>
            <a:off x="4794454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0" name="object 6"/>
          <p:cNvSpPr txBox="1"/>
          <p:nvPr/>
        </p:nvSpPr>
        <p:spPr>
          <a:xfrm>
            <a:off x="3505200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6595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52" name="object 67"/>
          <p:cNvSpPr/>
          <p:nvPr/>
        </p:nvSpPr>
        <p:spPr>
          <a:xfrm>
            <a:off x="3907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48"/>
          <p:cNvSpPr/>
          <p:nvPr/>
        </p:nvSpPr>
        <p:spPr>
          <a:xfrm>
            <a:off x="4757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68"/>
          <p:cNvSpPr/>
          <p:nvPr/>
        </p:nvSpPr>
        <p:spPr>
          <a:xfrm>
            <a:off x="6586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6"/>
          <p:cNvSpPr txBox="1"/>
          <p:nvPr/>
        </p:nvSpPr>
        <p:spPr>
          <a:xfrm>
            <a:off x="5252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Hi Bo. Hi!”</a:t>
            </a:r>
            <a:endParaRPr sz="2400" dirty="0">
              <a:cs typeface="Calibri"/>
            </a:endParaRPr>
          </a:p>
        </p:txBody>
      </p:sp>
      <p:sp>
        <p:nvSpPr>
          <p:cNvPr id="57" name="object 6"/>
          <p:cNvSpPr txBox="1"/>
          <p:nvPr/>
        </p:nvSpPr>
        <p:spPr>
          <a:xfrm>
            <a:off x="7221936" y="1906202"/>
            <a:ext cx="3065064" cy="6935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Bo, Hi! Hi? Hi Bo. Bo. Hi? Hi. Hi!”</a:t>
            </a:r>
            <a:endParaRPr sz="2400" dirty="0">
              <a:cs typeface="Calibri"/>
            </a:endParaRPr>
          </a:p>
        </p:txBody>
      </p:sp>
      <p:sp>
        <p:nvSpPr>
          <p:cNvPr id="59" name="object 6"/>
          <p:cNvSpPr txBox="1"/>
          <p:nvPr/>
        </p:nvSpPr>
        <p:spPr>
          <a:xfrm>
            <a:off x="6148383" y="3107712"/>
            <a:ext cx="1876435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Cosine </a:t>
            </a:r>
            <a:r>
              <a:rPr lang="en-US" sz="3600" baseline="2275" dirty="0" err="1">
                <a:solidFill>
                  <a:srgbClr val="F69545"/>
                </a:solidFill>
                <a:cs typeface="Calibri"/>
              </a:rPr>
              <a:t>dist</a:t>
            </a: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 = 0 </a:t>
            </a:r>
          </a:p>
        </p:txBody>
      </p:sp>
      <p:sp>
        <p:nvSpPr>
          <p:cNvPr id="60" name="object 21"/>
          <p:cNvSpPr/>
          <p:nvPr/>
        </p:nvSpPr>
        <p:spPr>
          <a:xfrm>
            <a:off x="3907437" y="2230415"/>
            <a:ext cx="2728934" cy="3713186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420" h="1576521">
                <a:moveTo>
                  <a:pt x="0" y="1576521"/>
                </a:moveTo>
                <a:cubicBezTo>
                  <a:pt x="511731" y="1039151"/>
                  <a:pt x="973689" y="537370"/>
                  <a:pt x="1485420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1"/>
          <p:cNvSpPr/>
          <p:nvPr/>
        </p:nvSpPr>
        <p:spPr>
          <a:xfrm>
            <a:off x="3907437" y="4717139"/>
            <a:ext cx="900134" cy="1226463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  <a:gd name="connsiteX0" fmla="*/ 0 w 489963"/>
              <a:gd name="connsiteY0" fmla="*/ 520724 h 520724"/>
              <a:gd name="connsiteX1" fmla="*/ 489963 w 489963"/>
              <a:gd name="connsiteY1" fmla="*/ 0 h 520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9963" h="520724">
                <a:moveTo>
                  <a:pt x="0" y="520724"/>
                </a:moveTo>
                <a:cubicBezTo>
                  <a:pt x="511731" y="-16646"/>
                  <a:pt x="-21768" y="537370"/>
                  <a:pt x="489963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5"/>
          <p:cNvSpPr txBox="1"/>
          <p:nvPr/>
        </p:nvSpPr>
        <p:spPr>
          <a:xfrm>
            <a:off x="2565016" y="545066"/>
            <a:ext cx="7874384" cy="87203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F69545"/>
                </a:solidFill>
                <a:latin typeface="+mj-lt"/>
                <a:cs typeface="Calibri"/>
              </a:rPr>
              <a:t>Cosin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F69545"/>
                </a:solidFill>
                <a:latin typeface="+mj-lt"/>
                <a:cs typeface="Calibri"/>
              </a:rPr>
              <a:t> captures the “meaning” distance better in a bag of words system</a:t>
            </a:r>
          </a:p>
        </p:txBody>
      </p:sp>
      <p:sp>
        <p:nvSpPr>
          <p:cNvPr id="43" name="object 27"/>
          <p:cNvSpPr/>
          <p:nvPr/>
        </p:nvSpPr>
        <p:spPr>
          <a:xfrm>
            <a:off x="3732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29"/>
          <p:cNvSpPr/>
          <p:nvPr/>
        </p:nvSpPr>
        <p:spPr>
          <a:xfrm>
            <a:off x="3732183" y="2092961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31"/>
          <p:cNvSpPr/>
          <p:nvPr/>
        </p:nvSpPr>
        <p:spPr>
          <a:xfrm>
            <a:off x="4894853" y="5943601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33"/>
          <p:cNvSpPr/>
          <p:nvPr/>
        </p:nvSpPr>
        <p:spPr>
          <a:xfrm>
            <a:off x="6598812" y="5943601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8"/>
          <p:cNvSpPr txBox="1"/>
          <p:nvPr/>
        </p:nvSpPr>
        <p:spPr>
          <a:xfrm>
            <a:off x="3525595" y="1933666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8" name="object 6"/>
          <p:cNvSpPr txBox="1"/>
          <p:nvPr/>
        </p:nvSpPr>
        <p:spPr>
          <a:xfrm>
            <a:off x="3525595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9" name="object 4"/>
          <p:cNvSpPr txBox="1"/>
          <p:nvPr/>
        </p:nvSpPr>
        <p:spPr>
          <a:xfrm>
            <a:off x="6502209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0" name="object 3"/>
          <p:cNvSpPr txBox="1"/>
          <p:nvPr/>
        </p:nvSpPr>
        <p:spPr>
          <a:xfrm>
            <a:off x="4794454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1" name="object 6"/>
          <p:cNvSpPr txBox="1"/>
          <p:nvPr/>
        </p:nvSpPr>
        <p:spPr>
          <a:xfrm>
            <a:off x="3505200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52" name="object 5"/>
          <p:cNvSpPr txBox="1"/>
          <p:nvPr/>
        </p:nvSpPr>
        <p:spPr>
          <a:xfrm>
            <a:off x="6595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53" name="object 67"/>
          <p:cNvSpPr/>
          <p:nvPr/>
        </p:nvSpPr>
        <p:spPr>
          <a:xfrm>
            <a:off x="3907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48"/>
          <p:cNvSpPr/>
          <p:nvPr/>
        </p:nvSpPr>
        <p:spPr>
          <a:xfrm>
            <a:off x="4757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68"/>
          <p:cNvSpPr/>
          <p:nvPr/>
        </p:nvSpPr>
        <p:spPr>
          <a:xfrm>
            <a:off x="6586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6"/>
          <p:cNvSpPr txBox="1"/>
          <p:nvPr/>
        </p:nvSpPr>
        <p:spPr>
          <a:xfrm>
            <a:off x="5252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Hi Bo. Hi!”</a:t>
            </a:r>
            <a:endParaRPr sz="2400" dirty="0">
              <a:cs typeface="Calibri"/>
            </a:endParaRPr>
          </a:p>
        </p:txBody>
      </p:sp>
      <p:sp>
        <p:nvSpPr>
          <p:cNvPr id="58" name="object 6"/>
          <p:cNvSpPr txBox="1"/>
          <p:nvPr/>
        </p:nvSpPr>
        <p:spPr>
          <a:xfrm>
            <a:off x="7221936" y="1906202"/>
            <a:ext cx="3065064" cy="6935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Bo, Hi! Hi? Hi Bo. Bo. Hi? Hi. Hi!”</a:t>
            </a:r>
            <a:endParaRPr sz="2400" dirty="0">
              <a:cs typeface="Calibri"/>
            </a:endParaRPr>
          </a:p>
        </p:txBody>
      </p:sp>
      <p:sp>
        <p:nvSpPr>
          <p:cNvPr id="59" name="object 6"/>
          <p:cNvSpPr txBox="1"/>
          <p:nvPr/>
        </p:nvSpPr>
        <p:spPr>
          <a:xfrm>
            <a:off x="6148383" y="3107712"/>
            <a:ext cx="1876435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Cosine </a:t>
            </a:r>
            <a:r>
              <a:rPr lang="en-US" sz="3600" baseline="2275" dirty="0" err="1">
                <a:solidFill>
                  <a:srgbClr val="F69545"/>
                </a:solidFill>
                <a:cs typeface="Calibri"/>
              </a:rPr>
              <a:t>dist</a:t>
            </a: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 = 0 </a:t>
            </a:r>
          </a:p>
        </p:txBody>
      </p:sp>
      <p:sp>
        <p:nvSpPr>
          <p:cNvPr id="60" name="object 21"/>
          <p:cNvSpPr/>
          <p:nvPr/>
        </p:nvSpPr>
        <p:spPr>
          <a:xfrm>
            <a:off x="3907437" y="2230415"/>
            <a:ext cx="2728934" cy="3713186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420" h="1576521">
                <a:moveTo>
                  <a:pt x="0" y="1576521"/>
                </a:moveTo>
                <a:cubicBezTo>
                  <a:pt x="511731" y="1039151"/>
                  <a:pt x="973689" y="537370"/>
                  <a:pt x="1485420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1"/>
          <p:cNvSpPr/>
          <p:nvPr/>
        </p:nvSpPr>
        <p:spPr>
          <a:xfrm>
            <a:off x="3907437" y="4717139"/>
            <a:ext cx="900134" cy="1226463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  <a:gd name="connsiteX0" fmla="*/ 0 w 489963"/>
              <a:gd name="connsiteY0" fmla="*/ 520724 h 520724"/>
              <a:gd name="connsiteX1" fmla="*/ 489963 w 489963"/>
              <a:gd name="connsiteY1" fmla="*/ 0 h 520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9963" h="520724">
                <a:moveTo>
                  <a:pt x="0" y="520724"/>
                </a:moveTo>
                <a:cubicBezTo>
                  <a:pt x="511731" y="-16646"/>
                  <a:pt x="-21768" y="537370"/>
                  <a:pt x="489963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5"/>
          <p:cNvSpPr txBox="1"/>
          <p:nvPr/>
        </p:nvSpPr>
        <p:spPr>
          <a:xfrm>
            <a:off x="2128887" y="545067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2128886" y="1394898"/>
            <a:ext cx="7874384" cy="3847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baseline="1950" dirty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baseline="1950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3625916" y="3696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Agglomerative Clustering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endParaRPr sz="3200" dirty="0">
              <a:latin typeface="+mj-lt"/>
              <a:cs typeface="Calibri"/>
            </a:endParaRPr>
          </a:p>
        </p:txBody>
      </p:sp>
      <p:sp>
        <p:nvSpPr>
          <p:cNvPr id="20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23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239" name="Group 23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24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4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8"/>
          <p:cNvSpPr txBox="1"/>
          <p:nvPr/>
        </p:nvSpPr>
        <p:spPr>
          <a:xfrm>
            <a:off x="2128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baseline="1950" dirty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{I, like, chocolate, ice, cream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= {Do, I, want, chocolate, cream, or, vanilla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>
              <a:cs typeface="Calibri"/>
            </a:endParaRPr>
          </a:p>
        </p:txBody>
      </p:sp>
      <p:sp>
        <p:nvSpPr>
          <p:cNvPr id="7" name="object 5"/>
          <p:cNvSpPr txBox="1"/>
          <p:nvPr/>
        </p:nvSpPr>
        <p:spPr>
          <a:xfrm>
            <a:off x="2128887" y="545067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8"/>
          <p:cNvSpPr txBox="1"/>
          <p:nvPr/>
        </p:nvSpPr>
        <p:spPr>
          <a:xfrm>
            <a:off x="2128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baseline="1950" dirty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{I, like, chocolate, ice, cream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= {Do, I, want, chocolate, cream, or, vanilla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>
              <a:cs typeface="Calibri"/>
            </a:endParaRPr>
          </a:p>
        </p:txBody>
      </p:sp>
      <p:sp>
        <p:nvSpPr>
          <p:cNvPr id="16" name="object 5"/>
          <p:cNvSpPr txBox="1"/>
          <p:nvPr/>
        </p:nvSpPr>
        <p:spPr>
          <a:xfrm>
            <a:off x="2128887" y="545067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5" name="object 9"/>
          <p:cNvSpPr txBox="1"/>
          <p:nvPr/>
        </p:nvSpPr>
        <p:spPr>
          <a:xfrm>
            <a:off x="6587357" y="4275563"/>
            <a:ext cx="1623691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-4" baseline="1136" dirty="0">
                <a:cs typeface="Times New Roman"/>
              </a:rPr>
              <a:t>l</a:t>
            </a:r>
            <a:r>
              <a:rPr sz="3900" i="1" u="heavy" spc="-14" baseline="1136" dirty="0">
                <a:cs typeface="Times New Roman"/>
              </a:rPr>
              <a:t>e</a:t>
            </a:r>
            <a:r>
              <a:rPr sz="3900" i="1" u="heavy" spc="39" baseline="1136" dirty="0">
                <a:cs typeface="Times New Roman"/>
              </a:rPr>
              <a:t>n</a:t>
            </a:r>
            <a:r>
              <a:rPr sz="3900" u="heavy" spc="59" baseline="1136" dirty="0">
                <a:cs typeface="Times New Roman"/>
              </a:rPr>
              <a:t>(</a:t>
            </a:r>
            <a:r>
              <a:rPr sz="3900" i="1" u="heavy" spc="-4" baseline="1136" dirty="0">
                <a:cs typeface="Times New Roman"/>
              </a:rPr>
              <a:t>s</a:t>
            </a:r>
            <a:r>
              <a:rPr sz="3900" i="1" u="heavy" baseline="1136" dirty="0">
                <a:cs typeface="Times New Roman"/>
              </a:rPr>
              <a:t>ha</a:t>
            </a:r>
            <a:r>
              <a:rPr sz="3900" i="1" u="heavy" spc="-4" baseline="1136" dirty="0">
                <a:cs typeface="Times New Roman"/>
              </a:rPr>
              <a:t>r</a:t>
            </a:r>
            <a:r>
              <a:rPr sz="3900" i="1" u="heavy" spc="-14" baseline="1136" dirty="0">
                <a:cs typeface="Times New Roman"/>
              </a:rPr>
              <a:t>e</a:t>
            </a:r>
            <a:r>
              <a:rPr sz="3900" i="1" u="heavy" baseline="1136" dirty="0">
                <a:cs typeface="Times New Roman"/>
              </a:rPr>
              <a:t>d</a:t>
            </a:r>
            <a:r>
              <a:rPr sz="3900" u="heavy" spc="-444" baseline="1136" dirty="0">
                <a:cs typeface="Times New Roman"/>
              </a:rPr>
              <a:t> </a:t>
            </a:r>
            <a:r>
              <a:rPr sz="3900" u="heavy" baseline="1136" dirty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26" name="object 8"/>
          <p:cNvSpPr txBox="1"/>
          <p:nvPr/>
        </p:nvSpPr>
        <p:spPr>
          <a:xfrm>
            <a:off x="4301995" y="4473371"/>
            <a:ext cx="445990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baseline="1136" dirty="0">
                <a:cs typeface="Times New Roman"/>
              </a:rPr>
              <a:t>1</a:t>
            </a:r>
            <a:r>
              <a:rPr sz="3900" spc="-450" baseline="1136" dirty="0">
                <a:cs typeface="Times New Roman"/>
              </a:rPr>
              <a:t> </a:t>
            </a:r>
            <a:r>
              <a:rPr sz="3900" baseline="1136" dirty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27" name="object 7"/>
          <p:cNvSpPr txBox="1"/>
          <p:nvPr/>
        </p:nvSpPr>
        <p:spPr>
          <a:xfrm>
            <a:off x="5826823" y="4473371"/>
            <a:ext cx="661781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baseline="1333" dirty="0">
                <a:cs typeface="Symbols"/>
              </a:rPr>
              <a:t>=</a:t>
            </a:r>
            <a:r>
              <a:rPr sz="3900" spc="114" baseline="1333" dirty="0">
                <a:cs typeface="Symbols"/>
              </a:rPr>
              <a:t> </a:t>
            </a:r>
            <a:r>
              <a:rPr sz="3900" baseline="1136" dirty="0">
                <a:cs typeface="Times New Roman"/>
              </a:rPr>
              <a:t>1</a:t>
            </a:r>
            <a:r>
              <a:rPr sz="3900" spc="-450" baseline="1136" dirty="0">
                <a:cs typeface="Times New Roman"/>
              </a:rPr>
              <a:t> </a:t>
            </a:r>
            <a:r>
              <a:rPr sz="3900" baseline="1136" dirty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28" name="object 10"/>
          <p:cNvSpPr txBox="1"/>
          <p:nvPr/>
        </p:nvSpPr>
        <p:spPr>
          <a:xfrm>
            <a:off x="4846738" y="4275562"/>
            <a:ext cx="881332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baseline="1136" dirty="0">
                <a:cs typeface="Times New Roman"/>
              </a:rPr>
              <a:t>A</a:t>
            </a:r>
            <a:r>
              <a:rPr sz="3900" u="heavy" spc="-183" baseline="1136" dirty="0">
                <a:cs typeface="Times New Roman"/>
              </a:rPr>
              <a:t> </a:t>
            </a:r>
            <a:r>
              <a:rPr sz="3900" u="heavy" baseline="1039" dirty="0">
                <a:cs typeface="Batang"/>
              </a:rPr>
              <a:t>∩</a:t>
            </a:r>
            <a:r>
              <a:rPr sz="3900" u="heavy" spc="-138" baseline="1136" dirty="0">
                <a:cs typeface="Times New Roman"/>
              </a:rPr>
              <a:t> </a:t>
            </a:r>
            <a:r>
              <a:rPr sz="3900" i="1" u="heavy" baseline="1136" dirty="0">
                <a:cs typeface="Times New Roman"/>
              </a:rPr>
              <a:t>B</a:t>
            </a:r>
            <a:endParaRPr sz="3900" dirty="0">
              <a:cs typeface="Times New Roman"/>
            </a:endParaRPr>
          </a:p>
        </p:txBody>
      </p:sp>
      <p:sp>
        <p:nvSpPr>
          <p:cNvPr id="29" name="object 5"/>
          <p:cNvSpPr txBox="1"/>
          <p:nvPr/>
        </p:nvSpPr>
        <p:spPr>
          <a:xfrm>
            <a:off x="4846738" y="4595992"/>
            <a:ext cx="881331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baseline="1136" dirty="0">
                <a:cs typeface="Times New Roman"/>
              </a:rPr>
              <a:t>A</a:t>
            </a:r>
            <a:r>
              <a:rPr sz="3900" i="1" spc="-179" baseline="1136" dirty="0">
                <a:cs typeface="Times New Roman"/>
              </a:rPr>
              <a:t> </a:t>
            </a:r>
            <a:r>
              <a:rPr sz="3900" baseline="1039" dirty="0">
                <a:cs typeface="Batang"/>
              </a:rPr>
              <a:t>∪</a:t>
            </a:r>
            <a:r>
              <a:rPr sz="3900" spc="-344" baseline="1039" dirty="0">
                <a:cs typeface="Batang"/>
              </a:rPr>
              <a:t> </a:t>
            </a:r>
            <a:r>
              <a:rPr sz="3900" i="1" baseline="1136" dirty="0">
                <a:cs typeface="Times New Roman"/>
              </a:rPr>
              <a:t>B</a:t>
            </a:r>
            <a:endParaRPr sz="3900">
              <a:cs typeface="Times New Roman"/>
            </a:endParaRPr>
          </a:p>
        </p:txBody>
      </p:sp>
      <p:sp>
        <p:nvSpPr>
          <p:cNvPr id="30" name="object 4"/>
          <p:cNvSpPr txBox="1"/>
          <p:nvPr/>
        </p:nvSpPr>
        <p:spPr>
          <a:xfrm>
            <a:off x="6587356" y="4595993"/>
            <a:ext cx="1566044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-4" baseline="1136" dirty="0">
                <a:cs typeface="Times New Roman"/>
              </a:rPr>
              <a:t>l</a:t>
            </a:r>
            <a:r>
              <a:rPr sz="3900" i="1" spc="-14" baseline="1136" dirty="0">
                <a:cs typeface="Times New Roman"/>
              </a:rPr>
              <a:t>e</a:t>
            </a:r>
            <a:r>
              <a:rPr sz="3900" i="1" spc="39" baseline="1136" dirty="0">
                <a:cs typeface="Times New Roman"/>
              </a:rPr>
              <a:t>n</a:t>
            </a:r>
            <a:r>
              <a:rPr sz="3900" spc="59" baseline="1136" dirty="0">
                <a:cs typeface="Times New Roman"/>
              </a:rPr>
              <a:t>(</a:t>
            </a:r>
            <a:r>
              <a:rPr sz="3900" i="1" baseline="1136" dirty="0">
                <a:cs typeface="Times New Roman"/>
              </a:rPr>
              <a:t>a</a:t>
            </a:r>
            <a:r>
              <a:rPr sz="3900" i="1" spc="-4" baseline="1136" dirty="0">
                <a:cs typeface="Times New Roman"/>
              </a:rPr>
              <a:t>l</a:t>
            </a:r>
            <a:r>
              <a:rPr sz="3900" i="1" spc="150" baseline="1136" dirty="0">
                <a:cs typeface="Times New Roman"/>
              </a:rPr>
              <a:t>l</a:t>
            </a:r>
            <a:r>
              <a:rPr sz="3900" baseline="1136" dirty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31" name="object 3"/>
          <p:cNvSpPr txBox="1"/>
          <p:nvPr/>
        </p:nvSpPr>
        <p:spPr>
          <a:xfrm>
            <a:off x="4709361" y="4395180"/>
            <a:ext cx="5603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32" name="object 2"/>
          <p:cNvSpPr txBox="1"/>
          <p:nvPr/>
        </p:nvSpPr>
        <p:spPr>
          <a:xfrm>
            <a:off x="4982419" y="4395180"/>
            <a:ext cx="6384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</p:spTree>
  </p:cSld>
  <p:clrMapOvr>
    <a:masterClrMapping/>
  </p:clrMapOvr>
  <p:transition spd="med"/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8243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8"/>
          <p:cNvSpPr txBox="1"/>
          <p:nvPr/>
        </p:nvSpPr>
        <p:spPr>
          <a:xfrm>
            <a:off x="2128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baseline="1950" dirty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{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lik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ic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= {Do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want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or, vanilla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>
              <a:cs typeface="Calibri"/>
            </a:endParaRPr>
          </a:p>
        </p:txBody>
      </p:sp>
      <p:sp>
        <p:nvSpPr>
          <p:cNvPr id="16" name="object 5"/>
          <p:cNvSpPr txBox="1"/>
          <p:nvPr/>
        </p:nvSpPr>
        <p:spPr>
          <a:xfrm>
            <a:off x="2128887" y="545067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587357" y="4275563"/>
            <a:ext cx="1623691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-4" baseline="1136" dirty="0">
                <a:cs typeface="Times New Roman"/>
              </a:rPr>
              <a:t>l</a:t>
            </a:r>
            <a:r>
              <a:rPr sz="3900" i="1" u="heavy" spc="-14" baseline="1136" dirty="0">
                <a:cs typeface="Times New Roman"/>
              </a:rPr>
              <a:t>e</a:t>
            </a:r>
            <a:r>
              <a:rPr sz="3900" i="1" u="heavy" spc="39" baseline="1136" dirty="0">
                <a:cs typeface="Times New Roman"/>
              </a:rPr>
              <a:t>n</a:t>
            </a:r>
            <a:r>
              <a:rPr sz="3900" u="heavy" spc="59" baseline="1136" dirty="0">
                <a:cs typeface="Times New Roman"/>
              </a:rPr>
              <a:t>(</a:t>
            </a:r>
            <a:r>
              <a:rPr sz="3900" i="1" u="heavy" spc="-4" baseline="1136" dirty="0">
                <a:cs typeface="Times New Roman"/>
              </a:rPr>
              <a:t>s</a:t>
            </a:r>
            <a:r>
              <a:rPr sz="3900" i="1" u="heavy" baseline="1136" dirty="0">
                <a:cs typeface="Times New Roman"/>
              </a:rPr>
              <a:t>ha</a:t>
            </a:r>
            <a:r>
              <a:rPr sz="3900" i="1" u="heavy" spc="-4" baseline="1136" dirty="0">
                <a:cs typeface="Times New Roman"/>
              </a:rPr>
              <a:t>r</a:t>
            </a:r>
            <a:r>
              <a:rPr sz="3900" i="1" u="heavy" spc="-14" baseline="1136" dirty="0">
                <a:cs typeface="Times New Roman"/>
              </a:rPr>
              <a:t>e</a:t>
            </a:r>
            <a:r>
              <a:rPr sz="3900" i="1" u="heavy" baseline="1136" dirty="0">
                <a:cs typeface="Times New Roman"/>
              </a:rPr>
              <a:t>d</a:t>
            </a:r>
            <a:r>
              <a:rPr sz="3900" u="heavy" spc="-444" baseline="1136" dirty="0">
                <a:cs typeface="Times New Roman"/>
              </a:rPr>
              <a:t> </a:t>
            </a:r>
            <a:r>
              <a:rPr sz="3900" u="heavy" baseline="1136" dirty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301995" y="4473371"/>
            <a:ext cx="445990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baseline="1136" dirty="0">
                <a:cs typeface="Times New Roman"/>
              </a:rPr>
              <a:t>1</a:t>
            </a:r>
            <a:r>
              <a:rPr sz="3900" spc="-450" baseline="1136" dirty="0">
                <a:cs typeface="Times New Roman"/>
              </a:rPr>
              <a:t> </a:t>
            </a:r>
            <a:r>
              <a:rPr sz="3900" baseline="1136" dirty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826823" y="4473371"/>
            <a:ext cx="661781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baseline="1333" dirty="0">
                <a:cs typeface="Symbols"/>
              </a:rPr>
              <a:t>=</a:t>
            </a:r>
            <a:r>
              <a:rPr sz="3900" spc="114" baseline="1333" dirty="0">
                <a:cs typeface="Symbols"/>
              </a:rPr>
              <a:t> </a:t>
            </a:r>
            <a:r>
              <a:rPr sz="3900" baseline="1136" dirty="0">
                <a:cs typeface="Times New Roman"/>
              </a:rPr>
              <a:t>1</a:t>
            </a:r>
            <a:r>
              <a:rPr sz="3900" spc="-450" baseline="1136" dirty="0">
                <a:cs typeface="Times New Roman"/>
              </a:rPr>
              <a:t> </a:t>
            </a:r>
            <a:r>
              <a:rPr sz="3900" baseline="1136" dirty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846738" y="4275562"/>
            <a:ext cx="881332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baseline="1136" dirty="0">
                <a:cs typeface="Times New Roman"/>
              </a:rPr>
              <a:t>A</a:t>
            </a:r>
            <a:r>
              <a:rPr sz="3900" u="heavy" spc="-183" baseline="1136" dirty="0">
                <a:cs typeface="Times New Roman"/>
              </a:rPr>
              <a:t> </a:t>
            </a:r>
            <a:r>
              <a:rPr sz="3900" u="heavy" baseline="1039" dirty="0">
                <a:cs typeface="Batang"/>
              </a:rPr>
              <a:t>∩</a:t>
            </a:r>
            <a:r>
              <a:rPr sz="3900" u="heavy" spc="-138" baseline="1136" dirty="0">
                <a:cs typeface="Times New Roman"/>
              </a:rPr>
              <a:t> </a:t>
            </a:r>
            <a:r>
              <a:rPr sz="3900" i="1" u="heavy" baseline="1136" dirty="0">
                <a:cs typeface="Times New Roman"/>
              </a:rPr>
              <a:t>B</a:t>
            </a:r>
            <a:endParaRPr sz="3900" dirty="0">
              <a:cs typeface="Times New Roman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846738" y="4595992"/>
            <a:ext cx="881331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baseline="1136" dirty="0">
                <a:cs typeface="Times New Roman"/>
              </a:rPr>
              <a:t>A</a:t>
            </a:r>
            <a:r>
              <a:rPr sz="3900" i="1" spc="-179" baseline="1136" dirty="0">
                <a:cs typeface="Times New Roman"/>
              </a:rPr>
              <a:t> </a:t>
            </a:r>
            <a:r>
              <a:rPr sz="3200" baseline="1039" dirty="0">
                <a:cs typeface="Batang"/>
              </a:rPr>
              <a:t>∪</a:t>
            </a:r>
            <a:r>
              <a:rPr sz="3900" spc="-344" baseline="1039" dirty="0">
                <a:cs typeface="Batang"/>
              </a:rPr>
              <a:t> </a:t>
            </a:r>
            <a:r>
              <a:rPr sz="3900" i="1" baseline="1136" dirty="0">
                <a:cs typeface="Times New Roman"/>
              </a:rPr>
              <a:t>B</a:t>
            </a:r>
            <a:endParaRPr sz="3900" dirty="0">
              <a:cs typeface="Times New Roman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587356" y="4595993"/>
            <a:ext cx="1566044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-4" baseline="1136" dirty="0">
                <a:cs typeface="Times New Roman"/>
              </a:rPr>
              <a:t>l</a:t>
            </a:r>
            <a:r>
              <a:rPr sz="3900" i="1" spc="-14" baseline="1136" dirty="0">
                <a:cs typeface="Times New Roman"/>
              </a:rPr>
              <a:t>e</a:t>
            </a:r>
            <a:r>
              <a:rPr sz="3900" i="1" spc="39" baseline="1136" dirty="0">
                <a:cs typeface="Times New Roman"/>
              </a:rPr>
              <a:t>n</a:t>
            </a:r>
            <a:r>
              <a:rPr sz="3900" spc="59" baseline="1136" dirty="0">
                <a:cs typeface="Times New Roman"/>
              </a:rPr>
              <a:t>(</a:t>
            </a:r>
            <a:r>
              <a:rPr sz="3900" i="1" baseline="1136" dirty="0">
                <a:cs typeface="Times New Roman"/>
              </a:rPr>
              <a:t>a</a:t>
            </a:r>
            <a:r>
              <a:rPr sz="3900" i="1" spc="-4" baseline="1136" dirty="0">
                <a:cs typeface="Times New Roman"/>
              </a:rPr>
              <a:t>l</a:t>
            </a:r>
            <a:r>
              <a:rPr sz="3900" i="1" spc="150" baseline="1136" dirty="0">
                <a:cs typeface="Times New Roman"/>
              </a:rPr>
              <a:t>l</a:t>
            </a:r>
            <a:r>
              <a:rPr sz="3900" baseline="1136" dirty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709361" y="4395180"/>
            <a:ext cx="5603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2" name="object 2"/>
          <p:cNvSpPr txBox="1"/>
          <p:nvPr/>
        </p:nvSpPr>
        <p:spPr>
          <a:xfrm>
            <a:off x="4982419" y="4395180"/>
            <a:ext cx="6384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</p:spTree>
  </p:cSld>
  <p:clrMapOvr>
    <a:masterClrMapping/>
  </p:clrMapOvr>
  <p:transition spd="med"/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2523468" y="5436756"/>
            <a:ext cx="7140566" cy="3544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5"/>
              </a:lnSpc>
              <a:tabLst>
                <a:tab pos="7073900" algn="l"/>
              </a:tabLst>
            </a:pPr>
            <a:r>
              <a:rPr sz="3900" u="heavy" baseline="1114" dirty="0">
                <a:cs typeface="Times New Roman"/>
              </a:rPr>
              <a:t>                     </a:t>
            </a:r>
            <a:r>
              <a:rPr sz="3900" u="heavy" spc="250" baseline="1114" dirty="0">
                <a:cs typeface="Times New Roman"/>
              </a:rPr>
              <a:t> </a:t>
            </a:r>
            <a:r>
              <a:rPr sz="3900" i="1" u="heavy" spc="-4" baseline="1114" dirty="0">
                <a:cs typeface="Times New Roman"/>
              </a:rPr>
              <a:t>l</a:t>
            </a:r>
            <a:r>
              <a:rPr sz="3900" i="1" u="heavy" spc="-14" baseline="1114" dirty="0">
                <a:cs typeface="Times New Roman"/>
              </a:rPr>
              <a:t>e</a:t>
            </a:r>
            <a:r>
              <a:rPr sz="3900" i="1" u="heavy" spc="39" baseline="1114" dirty="0">
                <a:cs typeface="Times New Roman"/>
              </a:rPr>
              <a:t>n</a:t>
            </a:r>
            <a:r>
              <a:rPr sz="3900" u="heavy" spc="-19" baseline="1114" dirty="0">
                <a:cs typeface="Times New Roman"/>
              </a:rPr>
              <a:t>(</a:t>
            </a:r>
            <a:r>
              <a:rPr sz="3900" u="heavy" spc="50" baseline="1114" dirty="0">
                <a:cs typeface="Times New Roman"/>
              </a:rPr>
              <a:t>{</a:t>
            </a:r>
            <a:r>
              <a:rPr sz="3900" i="1" u="heavy" spc="75" baseline="1114" dirty="0">
                <a:cs typeface="Times New Roman"/>
              </a:rPr>
              <a:t>I</a:t>
            </a:r>
            <a:r>
              <a:rPr sz="3900" u="heavy" baseline="1114" dirty="0">
                <a:cs typeface="Times New Roman"/>
              </a:rPr>
              <a:t>,</a:t>
            </a:r>
            <a:r>
              <a:rPr sz="3900" u="heavy" spc="-325" baseline="1114" dirty="0">
                <a:cs typeface="Times New Roman"/>
              </a:rPr>
              <a:t> </a:t>
            </a:r>
            <a:r>
              <a:rPr sz="3900" i="1" u="heavy" spc="-14" baseline="1114" dirty="0">
                <a:cs typeface="Times New Roman"/>
              </a:rPr>
              <a:t>c</a:t>
            </a:r>
            <a:r>
              <a:rPr sz="3900" i="1" u="heavy" baseline="1114" dirty="0">
                <a:cs typeface="Times New Roman"/>
              </a:rPr>
              <a:t>ho</a:t>
            </a:r>
            <a:r>
              <a:rPr sz="3900" i="1" u="heavy" spc="-14" baseline="1114" dirty="0">
                <a:cs typeface="Times New Roman"/>
              </a:rPr>
              <a:t>c</a:t>
            </a:r>
            <a:r>
              <a:rPr sz="3900" i="1" u="heavy" baseline="1114" dirty="0">
                <a:cs typeface="Times New Roman"/>
              </a:rPr>
              <a:t>o</a:t>
            </a:r>
            <a:r>
              <a:rPr sz="3900" i="1" u="heavy" spc="-4" baseline="1114" dirty="0">
                <a:cs typeface="Times New Roman"/>
              </a:rPr>
              <a:t>l</a:t>
            </a:r>
            <a:r>
              <a:rPr sz="3900" i="1" u="heavy" baseline="1114" dirty="0">
                <a:cs typeface="Times New Roman"/>
              </a:rPr>
              <a:t>a</a:t>
            </a:r>
            <a:r>
              <a:rPr sz="3900" i="1" u="heavy" spc="-4" baseline="1114" dirty="0">
                <a:cs typeface="Times New Roman"/>
              </a:rPr>
              <a:t>t</a:t>
            </a:r>
            <a:r>
              <a:rPr sz="3900" i="1" u="heavy" spc="-159" baseline="1114" dirty="0">
                <a:cs typeface="Times New Roman"/>
              </a:rPr>
              <a:t>e</a:t>
            </a:r>
            <a:r>
              <a:rPr sz="3900" u="heavy" baseline="1114" dirty="0">
                <a:cs typeface="Times New Roman"/>
              </a:rPr>
              <a:t>,</a:t>
            </a:r>
            <a:r>
              <a:rPr sz="3900" u="heavy" spc="-325" baseline="1114" dirty="0">
                <a:cs typeface="Times New Roman"/>
              </a:rPr>
              <a:t> </a:t>
            </a:r>
            <a:r>
              <a:rPr sz="3900" i="1" u="heavy" spc="-14" baseline="1114" dirty="0">
                <a:cs typeface="Times New Roman"/>
              </a:rPr>
              <a:t>c</a:t>
            </a:r>
            <a:r>
              <a:rPr sz="3900" i="1" u="heavy" spc="-4" baseline="1114" dirty="0">
                <a:cs typeface="Times New Roman"/>
              </a:rPr>
              <a:t>r</a:t>
            </a:r>
            <a:r>
              <a:rPr sz="3900" i="1" u="heavy" spc="-14" baseline="1114" dirty="0">
                <a:cs typeface="Times New Roman"/>
              </a:rPr>
              <a:t>e</a:t>
            </a:r>
            <a:r>
              <a:rPr sz="3900" i="1" u="heavy" baseline="1114" dirty="0">
                <a:cs typeface="Times New Roman"/>
              </a:rPr>
              <a:t>a</a:t>
            </a:r>
            <a:r>
              <a:rPr sz="3900" i="1" u="heavy" spc="-14" baseline="1114" dirty="0">
                <a:cs typeface="Times New Roman"/>
              </a:rPr>
              <a:t>m</a:t>
            </a:r>
            <a:r>
              <a:rPr sz="3900" u="heavy" baseline="1114" dirty="0">
                <a:cs typeface="Times New Roman"/>
              </a:rPr>
              <a:t>}) 	</a:t>
            </a:r>
            <a:endParaRPr sz="3900" dirty="0">
              <a:cs typeface="Times New Roman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097053" y="5620904"/>
            <a:ext cx="445998" cy="37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5"/>
              </a:lnSpc>
              <a:spcBef>
                <a:spcPts val="130"/>
              </a:spcBef>
            </a:pPr>
            <a:r>
              <a:rPr sz="3900" baseline="1114" dirty="0">
                <a:cs typeface="Times New Roman"/>
              </a:rPr>
              <a:t>1</a:t>
            </a:r>
            <a:r>
              <a:rPr sz="3900" spc="-459" baseline="1114" dirty="0">
                <a:cs typeface="Times New Roman"/>
              </a:rPr>
              <a:t> </a:t>
            </a:r>
            <a:r>
              <a:rPr sz="3900" baseline="1114" dirty="0">
                <a:cs typeface="Times New Roman"/>
              </a:rPr>
              <a:t>−</a:t>
            </a:r>
            <a:endParaRPr sz="3900">
              <a:cs typeface="Times New Roman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535456" y="5883113"/>
            <a:ext cx="7121621" cy="3544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5"/>
              </a:lnSpc>
              <a:spcBef>
                <a:spcPts val="130"/>
              </a:spcBef>
            </a:pPr>
            <a:r>
              <a:rPr sz="3900" i="1" spc="-4" baseline="1114" dirty="0">
                <a:cs typeface="Times New Roman"/>
              </a:rPr>
              <a:t>l</a:t>
            </a:r>
            <a:r>
              <a:rPr sz="3900" i="1" spc="-14" baseline="1114" dirty="0">
                <a:cs typeface="Times New Roman"/>
              </a:rPr>
              <a:t>e</a:t>
            </a:r>
            <a:r>
              <a:rPr sz="3900" i="1" spc="39" baseline="1114" dirty="0">
                <a:cs typeface="Times New Roman"/>
              </a:rPr>
              <a:t>n</a:t>
            </a:r>
            <a:r>
              <a:rPr sz="3900" spc="-19" baseline="1114" dirty="0">
                <a:cs typeface="Times New Roman"/>
              </a:rPr>
              <a:t>(</a:t>
            </a:r>
            <a:r>
              <a:rPr sz="3900" spc="50" baseline="1114" dirty="0">
                <a:cs typeface="Times New Roman"/>
              </a:rPr>
              <a:t>{</a:t>
            </a:r>
            <a:r>
              <a:rPr sz="3900" i="1" spc="75" baseline="1114" dirty="0">
                <a:cs typeface="Times New Roman"/>
              </a:rPr>
              <a:t>I</a:t>
            </a:r>
            <a:r>
              <a:rPr sz="3900" baseline="1114" dirty="0">
                <a:cs typeface="Times New Roman"/>
              </a:rPr>
              <a:t>,</a:t>
            </a:r>
            <a:r>
              <a:rPr sz="3900" spc="-364" baseline="1114" dirty="0">
                <a:cs typeface="Times New Roman"/>
              </a:rPr>
              <a:t> </a:t>
            </a:r>
            <a:r>
              <a:rPr sz="3900" i="1" spc="-4" baseline="1114" dirty="0">
                <a:cs typeface="Times New Roman"/>
              </a:rPr>
              <a:t>li</a:t>
            </a:r>
            <a:r>
              <a:rPr sz="3900" i="1" spc="-14" baseline="1114" dirty="0">
                <a:cs typeface="Times New Roman"/>
              </a:rPr>
              <a:t>k</a:t>
            </a:r>
            <a:r>
              <a:rPr sz="3900" i="1" spc="-159" baseline="1114" dirty="0">
                <a:cs typeface="Times New Roman"/>
              </a:rPr>
              <a:t>e</a:t>
            </a:r>
            <a:r>
              <a:rPr sz="3900" baseline="1114" dirty="0">
                <a:cs typeface="Times New Roman"/>
              </a:rPr>
              <a:t>,</a:t>
            </a:r>
            <a:r>
              <a:rPr sz="3900" spc="-325" baseline="1114" dirty="0">
                <a:cs typeface="Times New Roman"/>
              </a:rPr>
              <a:t> </a:t>
            </a:r>
            <a:r>
              <a:rPr sz="3900" i="1" spc="-14" baseline="1114" dirty="0">
                <a:cs typeface="Times New Roman"/>
              </a:rPr>
              <a:t>c</a:t>
            </a:r>
            <a:r>
              <a:rPr sz="3900" i="1" baseline="1114" dirty="0">
                <a:cs typeface="Times New Roman"/>
              </a:rPr>
              <a:t>ho</a:t>
            </a:r>
            <a:r>
              <a:rPr sz="3900" i="1" spc="-14" baseline="1114" dirty="0">
                <a:cs typeface="Times New Roman"/>
              </a:rPr>
              <a:t>c</a:t>
            </a:r>
            <a:r>
              <a:rPr sz="3900" i="1" baseline="1114" dirty="0">
                <a:cs typeface="Times New Roman"/>
              </a:rPr>
              <a:t>o</a:t>
            </a:r>
            <a:r>
              <a:rPr sz="3900" i="1" spc="-4" baseline="1114" dirty="0">
                <a:cs typeface="Times New Roman"/>
              </a:rPr>
              <a:t>l</a:t>
            </a:r>
            <a:r>
              <a:rPr sz="3900" i="1" baseline="1114" dirty="0">
                <a:cs typeface="Times New Roman"/>
              </a:rPr>
              <a:t>a</a:t>
            </a:r>
            <a:r>
              <a:rPr sz="3900" i="1" spc="-4" baseline="1114" dirty="0">
                <a:cs typeface="Times New Roman"/>
              </a:rPr>
              <a:t>t</a:t>
            </a:r>
            <a:r>
              <a:rPr sz="3900" i="1" spc="-159" baseline="1114" dirty="0">
                <a:cs typeface="Times New Roman"/>
              </a:rPr>
              <a:t>e</a:t>
            </a:r>
            <a:r>
              <a:rPr sz="3900" baseline="1114" dirty="0">
                <a:cs typeface="Times New Roman"/>
              </a:rPr>
              <a:t>,</a:t>
            </a:r>
            <a:r>
              <a:rPr sz="3900" spc="-379" baseline="1114" dirty="0">
                <a:cs typeface="Times New Roman"/>
              </a:rPr>
              <a:t> </a:t>
            </a:r>
            <a:r>
              <a:rPr sz="3900" i="1" spc="-4" baseline="1114" dirty="0">
                <a:cs typeface="Times New Roman"/>
              </a:rPr>
              <a:t>i</a:t>
            </a:r>
            <a:r>
              <a:rPr sz="3900" i="1" spc="-14" baseline="1114" dirty="0">
                <a:cs typeface="Times New Roman"/>
              </a:rPr>
              <a:t>c</a:t>
            </a:r>
            <a:r>
              <a:rPr sz="3900" i="1" spc="-159" baseline="1114" dirty="0">
                <a:cs typeface="Times New Roman"/>
              </a:rPr>
              <a:t>e</a:t>
            </a:r>
            <a:r>
              <a:rPr sz="3900" baseline="1114" dirty="0">
                <a:cs typeface="Times New Roman"/>
              </a:rPr>
              <a:t>,</a:t>
            </a:r>
            <a:r>
              <a:rPr sz="3900" spc="-325" baseline="1114" dirty="0">
                <a:cs typeface="Times New Roman"/>
              </a:rPr>
              <a:t> </a:t>
            </a:r>
            <a:r>
              <a:rPr sz="3900" i="1" spc="-14" baseline="1114" dirty="0">
                <a:cs typeface="Times New Roman"/>
              </a:rPr>
              <a:t>c</a:t>
            </a:r>
            <a:r>
              <a:rPr sz="3900" i="1" spc="-4" baseline="1114" dirty="0">
                <a:cs typeface="Times New Roman"/>
              </a:rPr>
              <a:t>r</a:t>
            </a:r>
            <a:r>
              <a:rPr sz="3900" i="1" spc="-14" baseline="1114" dirty="0">
                <a:cs typeface="Times New Roman"/>
              </a:rPr>
              <a:t>e</a:t>
            </a:r>
            <a:r>
              <a:rPr sz="3900" i="1" baseline="1114" dirty="0">
                <a:cs typeface="Times New Roman"/>
              </a:rPr>
              <a:t>a</a:t>
            </a:r>
            <a:r>
              <a:rPr sz="3900" i="1" spc="-122" baseline="1114" dirty="0">
                <a:cs typeface="Times New Roman"/>
              </a:rPr>
              <a:t>m</a:t>
            </a:r>
            <a:r>
              <a:rPr sz="3900" baseline="1114" dirty="0">
                <a:cs typeface="Times New Roman"/>
              </a:rPr>
              <a:t>,</a:t>
            </a:r>
            <a:r>
              <a:rPr sz="3900" spc="-213" baseline="1114" dirty="0">
                <a:cs typeface="Times New Roman"/>
              </a:rPr>
              <a:t> </a:t>
            </a:r>
            <a:r>
              <a:rPr sz="3900" i="1" baseline="1114" dirty="0">
                <a:cs typeface="Times New Roman"/>
              </a:rPr>
              <a:t>d</a:t>
            </a:r>
            <a:r>
              <a:rPr sz="3900" i="1" spc="-159" baseline="1114" dirty="0">
                <a:cs typeface="Times New Roman"/>
              </a:rPr>
              <a:t>o</a:t>
            </a:r>
            <a:r>
              <a:rPr sz="3900" baseline="1114" dirty="0">
                <a:cs typeface="Times New Roman"/>
              </a:rPr>
              <a:t>,</a:t>
            </a:r>
            <a:r>
              <a:rPr sz="3900" spc="-294" baseline="1114" dirty="0">
                <a:cs typeface="Times New Roman"/>
              </a:rPr>
              <a:t> </a:t>
            </a:r>
            <a:r>
              <a:rPr sz="3900" i="1" baseline="1114" dirty="0">
                <a:cs typeface="Times New Roman"/>
              </a:rPr>
              <a:t>wan</a:t>
            </a:r>
            <a:r>
              <a:rPr sz="3900" i="1" spc="-29" baseline="1114" dirty="0">
                <a:cs typeface="Times New Roman"/>
              </a:rPr>
              <a:t>t</a:t>
            </a:r>
            <a:r>
              <a:rPr sz="3900" baseline="1114" dirty="0">
                <a:cs typeface="Times New Roman"/>
              </a:rPr>
              <a:t>,</a:t>
            </a:r>
            <a:r>
              <a:rPr sz="3900" spc="-325" baseline="1114" dirty="0">
                <a:cs typeface="Times New Roman"/>
              </a:rPr>
              <a:t> </a:t>
            </a:r>
            <a:r>
              <a:rPr sz="3900" i="1" baseline="1114" dirty="0">
                <a:cs typeface="Times New Roman"/>
              </a:rPr>
              <a:t>o</a:t>
            </a:r>
            <a:r>
              <a:rPr sz="3900" i="1" spc="-69" baseline="1114" dirty="0">
                <a:cs typeface="Times New Roman"/>
              </a:rPr>
              <a:t>r</a:t>
            </a:r>
            <a:r>
              <a:rPr sz="3900" baseline="1114" dirty="0">
                <a:cs typeface="Times New Roman"/>
              </a:rPr>
              <a:t>,</a:t>
            </a:r>
            <a:r>
              <a:rPr sz="3900" spc="-314" baseline="1114" dirty="0">
                <a:cs typeface="Times New Roman"/>
              </a:rPr>
              <a:t> </a:t>
            </a:r>
            <a:r>
              <a:rPr sz="3900" i="1" spc="-14" baseline="1114" dirty="0">
                <a:cs typeface="Times New Roman"/>
              </a:rPr>
              <a:t>v</a:t>
            </a:r>
            <a:r>
              <a:rPr sz="3900" i="1" baseline="1114" dirty="0">
                <a:cs typeface="Times New Roman"/>
              </a:rPr>
              <a:t>an</a:t>
            </a:r>
            <a:r>
              <a:rPr sz="3900" i="1" spc="-4" baseline="1114" dirty="0">
                <a:cs typeface="Times New Roman"/>
              </a:rPr>
              <a:t>ill</a:t>
            </a:r>
            <a:r>
              <a:rPr sz="3900" i="1" spc="-14" baseline="1114" dirty="0">
                <a:cs typeface="Times New Roman"/>
              </a:rPr>
              <a:t>a</a:t>
            </a:r>
            <a:r>
              <a:rPr sz="3900" baseline="1114" dirty="0">
                <a:cs typeface="Times New Roman"/>
              </a:rPr>
              <a:t>})</a:t>
            </a:r>
            <a:endParaRPr sz="3900" dirty="0">
              <a:cs typeface="Times New Roman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536168" y="5542746"/>
            <a:ext cx="184779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2" name="object 2"/>
          <p:cNvSpPr txBox="1"/>
          <p:nvPr/>
        </p:nvSpPr>
        <p:spPr>
          <a:xfrm>
            <a:off x="7760069" y="5542746"/>
            <a:ext cx="184190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11" name="object 8"/>
          <p:cNvSpPr txBox="1"/>
          <p:nvPr/>
        </p:nvSpPr>
        <p:spPr>
          <a:xfrm>
            <a:off x="2128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baseline="1950" dirty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{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lik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ic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= {Do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want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or, vanilla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>
              <a:cs typeface="Calibri"/>
            </a:endParaRPr>
          </a:p>
        </p:txBody>
      </p:sp>
      <p:sp>
        <p:nvSpPr>
          <p:cNvPr id="12" name="object 5"/>
          <p:cNvSpPr txBox="1"/>
          <p:nvPr/>
        </p:nvSpPr>
        <p:spPr>
          <a:xfrm>
            <a:off x="2128887" y="545067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2128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baseline="1950" dirty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baseline="195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{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lik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ic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Sentence 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= {Do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want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or, vanilla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>
              <a:cs typeface="Calibri"/>
            </a:endParaRPr>
          </a:p>
        </p:txBody>
      </p:sp>
      <p:sp>
        <p:nvSpPr>
          <p:cNvPr id="10" name="object 5"/>
          <p:cNvSpPr txBox="1"/>
          <p:nvPr/>
        </p:nvSpPr>
        <p:spPr>
          <a:xfrm>
            <a:off x="2128887" y="545067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/>
              <p:cNvSpPr txBox="1"/>
              <p:nvPr/>
            </p:nvSpPr>
            <p:spPr>
              <a:xfrm>
                <a:off x="4038600" y="4293730"/>
                <a:ext cx="3200400" cy="667738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000" i="1">
                          <a:latin typeface="Cambria Math" charset="0"/>
                        </a:rPr>
                        <m:t>=1 −</m:t>
                      </m:r>
                      <m:f>
                        <m:f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i="1">
                              <a:latin typeface="Cambria Math" charset="0"/>
                            </a:rPr>
                            <m:t>3</m:t>
                          </m:r>
                        </m:num>
                        <m:den>
                          <m:r>
                            <a:rPr lang="en-US" sz="2000" i="1">
                              <a:latin typeface="Cambria Math" charset="0"/>
                            </a:rPr>
                            <m:t>9</m:t>
                          </m:r>
                        </m:den>
                      </m:f>
                      <m:box>
                        <m:box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boxPr>
                        <m:e>
                          <m:argPr>
                            <m:argSz m:val="-1"/>
                          </m:argPr>
                          <m:f>
                            <m:f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/>
                            <m:den/>
                          </m:f>
                        </m:e>
                      </m:box>
                      <m:r>
                        <a:rPr lang="en-US" sz="2000" i="1">
                          <a:latin typeface="Cambria Math" charset="0"/>
                        </a:rPr>
                        <m:t>=1 −0.333=0.667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8600" y="4293730"/>
                <a:ext cx="3200400" cy="667738"/>
              </a:xfrm>
              <a:prstGeom prst="rect">
                <a:avLst/>
              </a:prstGeom>
              <a:blipFill>
                <a:blip r:embed="rId2"/>
                <a:stretch>
                  <a:fillRect l="-1581" r="-12253" b="-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ransition spd="med"/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B7375-0A91-EB43-A0D1-8E22CC628B9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k to Other</a:t>
            </a:r>
            <a:br>
              <a:rPr lang="en-US" dirty="0"/>
            </a:br>
            <a:r>
              <a:rPr lang="en-US" dirty="0"/>
              <a:t>Clustering Algorithm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B814C0-6710-4E4F-822F-C407A44BA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705847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4D3E7-C8B5-D947-90AE-F1ABEF16C98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BSCA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B3D410-207E-9D44-9E19-B509190D6E1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674457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3625916" y="369651"/>
            <a:ext cx="6889684" cy="7694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525"/>
              </a:lnSpc>
            </a:pPr>
            <a:r>
              <a:rPr sz="3300" baseline="2482" dirty="0">
                <a:solidFill>
                  <a:srgbClr val="7F7E7E"/>
                </a:solidFill>
                <a:latin typeface="+mj-lt"/>
                <a:cs typeface="Calibri"/>
              </a:rPr>
              <a:t>Density-­‐based spa</a:t>
            </a:r>
            <a:r>
              <a:rPr lang="en-US" sz="3300" baseline="2482" dirty="0">
                <a:solidFill>
                  <a:srgbClr val="7F7E7E"/>
                </a:solidFill>
                <a:latin typeface="+mj-lt"/>
                <a:cs typeface="Calibri"/>
              </a:rPr>
              <a:t>ti</a:t>
            </a:r>
            <a:r>
              <a:rPr sz="3300" baseline="2482" dirty="0">
                <a:solidFill>
                  <a:srgbClr val="7F7E7E"/>
                </a:solidFill>
                <a:latin typeface="+mj-lt"/>
                <a:cs typeface="Calibri"/>
              </a:rPr>
              <a:t>al</a:t>
            </a:r>
            <a:r>
              <a:rPr sz="3300" spc="-170" baseline="2482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r>
              <a:rPr sz="3300" baseline="2482" dirty="0">
                <a:solidFill>
                  <a:srgbClr val="7F7E7E"/>
                </a:solidFill>
                <a:latin typeface="+mj-lt"/>
                <a:cs typeface="Calibri"/>
              </a:rPr>
              <a:t>clustering of </a:t>
            </a:r>
            <a:r>
              <a:rPr lang="en-US" sz="3300" baseline="2482" dirty="0">
                <a:solidFill>
                  <a:srgbClr val="7F7E7E"/>
                </a:solidFill>
                <a:latin typeface="+mj-lt"/>
                <a:cs typeface="Calibri"/>
              </a:rPr>
              <a:t>applications </a:t>
            </a:r>
            <a:r>
              <a:rPr sz="3300" baseline="2482" dirty="0">
                <a:solidFill>
                  <a:srgbClr val="7F7E7E"/>
                </a:solidFill>
                <a:latin typeface="+mj-lt"/>
                <a:cs typeface="Calibri"/>
              </a:rPr>
              <a:t>with</a:t>
            </a:r>
            <a:r>
              <a:rPr lang="en-US" sz="3300" baseline="2482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r>
              <a:rPr sz="3300" baseline="2482" dirty="0">
                <a:solidFill>
                  <a:srgbClr val="7F7E7E"/>
                </a:solidFill>
                <a:latin typeface="+mj-lt"/>
                <a:cs typeface="Calibri"/>
              </a:rPr>
              <a:t>noise</a:t>
            </a:r>
            <a:endParaRPr lang="en-US" sz="3300" baseline="2482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7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09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0" name="Group 109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5"/>
          <p:cNvSpPr txBox="1"/>
          <p:nvPr/>
        </p:nvSpPr>
        <p:spPr>
          <a:xfrm>
            <a:off x="3625916" y="369651"/>
            <a:ext cx="6889684" cy="7694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525"/>
              </a:lnSpc>
            </a:pPr>
            <a:r>
              <a:rPr lang="en-US" sz="3300" baseline="2482" dirty="0">
                <a:solidFill>
                  <a:srgbClr val="7F7E7E"/>
                </a:solidFill>
                <a:latin typeface="+mj-lt"/>
                <a:cs typeface="Calibri"/>
              </a:rPr>
              <a:t>Start at a random point</a:t>
            </a:r>
          </a:p>
        </p:txBody>
      </p:sp>
      <p:sp>
        <p:nvSpPr>
          <p:cNvPr id="8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4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Object 1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512446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object 66"/>
          <p:cNvSpPr/>
          <p:nvPr/>
        </p:nvSpPr>
        <p:spPr>
          <a:xfrm>
            <a:off x="6357383" y="186996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5"/>
          <p:cNvSpPr txBox="1"/>
          <p:nvPr/>
        </p:nvSpPr>
        <p:spPr>
          <a:xfrm>
            <a:off x="3625916" y="369651"/>
            <a:ext cx="6889684" cy="11926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Look at the radius </a:t>
            </a:r>
            <a:r>
              <a:rPr lang="en-US" sz="3200" i="1" baseline="1137" dirty="0">
                <a:solidFill>
                  <a:srgbClr val="4E81BC"/>
                </a:solidFill>
                <a:latin typeface="+mj-lt"/>
                <a:cs typeface="Calibri"/>
              </a:rPr>
              <a:t>epsilon</a:t>
            </a:r>
            <a:r>
              <a:rPr lang="en-US" sz="3200" i="1" spc="-4" baseline="1137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around point</a:t>
            </a: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If enough points (</a:t>
            </a:r>
            <a:r>
              <a:rPr lang="en-US" sz="3200" i="1" baseline="2275" dirty="0" err="1">
                <a:solidFill>
                  <a:srgbClr val="4E81BC"/>
                </a:solidFill>
                <a:latin typeface="+mj-lt"/>
                <a:cs typeface="Calibri"/>
              </a:rPr>
              <a:t>n_clu</a:t>
            </a:r>
            <a:r>
              <a:rPr lang="en-US" sz="3200" baseline="2275" dirty="0">
                <a:solidFill>
                  <a:srgbClr val="7F7E7E"/>
                </a:solidFill>
                <a:latin typeface="+mj-lt"/>
                <a:cs typeface="Calibri"/>
              </a:rPr>
              <a:t>) within circle, start cluster</a:t>
            </a:r>
            <a:endParaRPr lang="en-US" sz="3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1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2"/>
          <p:cNvSpPr txBox="1"/>
          <p:nvPr/>
        </p:nvSpPr>
        <p:spPr>
          <a:xfrm>
            <a:off x="3625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tiv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e</a:t>
            </a:r>
            <a:r>
              <a:rPr sz="4800" spc="-248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closet pair, merge into a cluster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5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8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89" name="Group 18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Everybody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are part of the cluster.</a:t>
            </a:r>
            <a:r>
              <a:rPr lang="en-US" sz="3200" dirty="0">
                <a:solidFill>
                  <a:srgbClr val="7F7E7E"/>
                </a:solidFill>
                <a:cs typeface="Calibri"/>
              </a:rPr>
              <a:t>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Process each the same way.</a:t>
            </a:r>
          </a:p>
        </p:txBody>
      </p:sp>
      <p:sp>
        <p:nvSpPr>
          <p:cNvPr id="89" name="object 66"/>
          <p:cNvSpPr/>
          <p:nvPr/>
        </p:nvSpPr>
        <p:spPr>
          <a:xfrm>
            <a:off x="6357383" y="186996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Everybody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are part of the cluster.</a:t>
            </a:r>
            <a:r>
              <a:rPr lang="en-US" sz="3200" dirty="0">
                <a:solidFill>
                  <a:srgbClr val="7F7E7E"/>
                </a:solidFill>
                <a:cs typeface="Calibri"/>
              </a:rPr>
              <a:t>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Process each the same way.</a:t>
            </a:r>
          </a:p>
        </p:txBody>
      </p:sp>
      <p:sp>
        <p:nvSpPr>
          <p:cNvPr id="89" name="object 66"/>
          <p:cNvSpPr/>
          <p:nvPr/>
        </p:nvSpPr>
        <p:spPr>
          <a:xfrm>
            <a:off x="6326381" y="144017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Everybody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are part of the cluster.</a:t>
            </a:r>
            <a:r>
              <a:rPr lang="en-US" sz="3200" dirty="0">
                <a:solidFill>
                  <a:srgbClr val="7F7E7E"/>
                </a:solidFill>
                <a:cs typeface="Calibri"/>
              </a:rPr>
              <a:t>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Process each the same way.</a:t>
            </a:r>
          </a:p>
        </p:txBody>
      </p:sp>
      <p:sp>
        <p:nvSpPr>
          <p:cNvPr id="90" name="object 66"/>
          <p:cNvSpPr/>
          <p:nvPr/>
        </p:nvSpPr>
        <p:spPr>
          <a:xfrm>
            <a:off x="5878855" y="168309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4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7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If candidate does NOT have </a:t>
            </a:r>
            <a:r>
              <a:rPr lang="en-US" sz="3200" i="1" baseline="1137" dirty="0" err="1">
                <a:solidFill>
                  <a:srgbClr val="7F7E7E"/>
                </a:solidFill>
                <a:cs typeface="Calibri"/>
              </a:rPr>
              <a:t>n_clu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, it is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density-reachable</a:t>
            </a:r>
          </a:p>
        </p:txBody>
      </p:sp>
      <p:sp>
        <p:nvSpPr>
          <p:cNvPr id="163" name="object 66"/>
          <p:cNvSpPr/>
          <p:nvPr/>
        </p:nvSpPr>
        <p:spPr>
          <a:xfrm>
            <a:off x="5966062" y="973103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97" name="Group 19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9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9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If candidate does NOT have </a:t>
            </a:r>
            <a:r>
              <a:rPr lang="en-US" sz="3200" i="1" baseline="1137" dirty="0" err="1">
                <a:solidFill>
                  <a:srgbClr val="7F7E7E"/>
                </a:solidFill>
                <a:cs typeface="Calibri"/>
              </a:rPr>
              <a:t>n_clu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, it is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density-reachable</a:t>
            </a:r>
          </a:p>
        </p:txBody>
      </p:sp>
      <p:sp>
        <p:nvSpPr>
          <p:cNvPr id="87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8" name="object 66"/>
          <p:cNvSpPr/>
          <p:nvPr/>
        </p:nvSpPr>
        <p:spPr>
          <a:xfrm>
            <a:off x="5966062" y="973103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6759487" y="174730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6233777" y="225706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object 66"/>
          <p:cNvSpPr/>
          <p:nvPr/>
        </p:nvSpPr>
        <p:spPr>
          <a:xfrm>
            <a:off x="6564022" y="258653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8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66"/>
          <p:cNvSpPr/>
          <p:nvPr/>
        </p:nvSpPr>
        <p:spPr>
          <a:xfrm>
            <a:off x="7034555" y="246188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8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9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7638548" y="265062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9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8122008" y="273887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8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129" name="object 66"/>
          <p:cNvSpPr/>
          <p:nvPr/>
        </p:nvSpPr>
        <p:spPr>
          <a:xfrm>
            <a:off x="8193115" y="2026573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63" name="Group 16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6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6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1873883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7533085" y="203675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7400946" y="1263432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7899308" y="148070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8272576" y="125228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If no neighbors left, randomly try a new (unvisited) point to potentially start a new cluster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7935737" y="88345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If no neighbors left, randomly try a new (unvisited) point to potentially start a new cluster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6587930" y="429460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dirty="0">
              <a:latin typeface="+mj-lt"/>
              <a:cs typeface="Calibri"/>
            </a:endParaRPr>
          </a:p>
        </p:txBody>
      </p:sp>
      <p:sp>
        <p:nvSpPr>
          <p:cNvPr id="85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66"/>
          <p:cNvSpPr/>
          <p:nvPr/>
        </p:nvSpPr>
        <p:spPr>
          <a:xfrm>
            <a:off x="6040382" y="416432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85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66"/>
          <p:cNvSpPr/>
          <p:nvPr/>
        </p:nvSpPr>
        <p:spPr>
          <a:xfrm>
            <a:off x="6250124" y="480783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4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5" name="Group 11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8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9" name="object 11"/>
          <p:cNvSpPr txBox="1"/>
          <p:nvPr/>
        </p:nvSpPr>
        <p:spPr>
          <a:xfrm>
            <a:off x="3625917" y="8522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85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66"/>
          <p:cNvSpPr/>
          <p:nvPr/>
        </p:nvSpPr>
        <p:spPr>
          <a:xfrm>
            <a:off x="7071621" y="477548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5682805" y="4695348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6352723" y="3793272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5261340" y="468642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5199492" y="393514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5428732" y="3389206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5164702" y="284559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4695315" y="3301797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4294756" y="2789756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962400" y="330254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4219191" y="386441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994920" y="4419582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3" name="object 66"/>
          <p:cNvSpPr/>
          <p:nvPr/>
        </p:nvSpPr>
        <p:spPr>
          <a:xfrm>
            <a:off x="3414756" y="4563487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7" name="Group 12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0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31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If there is a point that does not have </a:t>
            </a:r>
            <a:r>
              <a:rPr lang="en-US" sz="3200" i="1" baseline="1137" dirty="0" err="1">
                <a:solidFill>
                  <a:srgbClr val="7F7E7E"/>
                </a:solidFill>
                <a:cs typeface="Calibri"/>
              </a:rPr>
              <a:t>n_clu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neighbors and is not reached from a core point: It is a </a:t>
            </a:r>
            <a:r>
              <a:rPr lang="en-US" sz="3200" b="1" baseline="1137" dirty="0">
                <a:solidFill>
                  <a:srgbClr val="7F7E7E"/>
                </a:solidFill>
                <a:cs typeface="Calibri"/>
              </a:rPr>
              <a:t>noise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point.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3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4" name="object 5"/>
          <p:cNvSpPr txBox="1"/>
          <p:nvPr/>
        </p:nvSpPr>
        <p:spPr>
          <a:xfrm>
            <a:off x="3625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a-­</a:t>
            </a:r>
            <a:r>
              <a:rPr lang="en-US" sz="3200" baseline="1137" dirty="0" err="1">
                <a:solidFill>
                  <a:srgbClr val="7F7E7E"/>
                </a:solidFill>
                <a:cs typeface="Calibri"/>
              </a:rPr>
              <a:t>daa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! Notice the core points, density-reachable points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(at the borders) and the </a:t>
            </a:r>
            <a:r>
              <a:rPr lang="en-US" sz="3200" b="1" baseline="1137" dirty="0">
                <a:solidFill>
                  <a:srgbClr val="7F7E7E"/>
                </a:solidFill>
                <a:cs typeface="Calibri"/>
              </a:rPr>
              <a:t>noise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point.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>
              <a:latin typeface="+mj-lt"/>
              <a:cs typeface="Calibri"/>
            </a:endParaRPr>
          </a:p>
        </p:txBody>
      </p:sp>
      <p:sp>
        <p:nvSpPr>
          <p:cNvPr id="125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</a:t>
            </a:r>
            <a:r>
              <a:rPr lang="en-US" sz="2700" baseline="1517" dirty="0">
                <a:solidFill>
                  <a:srgbClr val="C00000"/>
                </a:solidFill>
                <a:latin typeface="+mj-lt"/>
                <a:cs typeface="Calibri"/>
              </a:rPr>
              <a:t>5</a:t>
            </a:r>
            <a:endParaRPr dirty="0">
              <a:solidFill>
                <a:srgbClr val="C00000"/>
              </a:solidFill>
              <a:latin typeface="+mj-lt"/>
              <a:cs typeface="Calibri"/>
            </a:endParaRPr>
          </a:p>
        </p:txBody>
      </p:sp>
      <p:sp>
        <p:nvSpPr>
          <p:cNvPr id="125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5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6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n_clu = </a:t>
            </a:r>
            <a:r>
              <a:rPr lang="en-US" sz="2700" baseline="1517" dirty="0">
                <a:solidFill>
                  <a:srgbClr val="C00000"/>
                </a:solidFill>
                <a:latin typeface="+mj-lt"/>
                <a:cs typeface="Calibri"/>
              </a:rPr>
              <a:t>1</a:t>
            </a:r>
            <a:endParaRPr dirty="0">
              <a:solidFill>
                <a:srgbClr val="C00000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6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</a:t>
            </a:r>
            <a:r>
              <a:rPr sz="2700" baseline="3034" dirty="0">
                <a:solidFill>
                  <a:srgbClr val="C00000"/>
                </a:solidFill>
                <a:latin typeface="+mj-lt"/>
                <a:cs typeface="Calibri"/>
              </a:rPr>
              <a:t>1.</a:t>
            </a:r>
            <a:r>
              <a:rPr lang="en-US" sz="2700" baseline="3034" dirty="0">
                <a:solidFill>
                  <a:srgbClr val="C00000"/>
                </a:solidFill>
                <a:latin typeface="+mj-lt"/>
                <a:cs typeface="Calibri"/>
              </a:rPr>
              <a:t>2</a:t>
            </a:r>
            <a:r>
              <a:rPr sz="2700" baseline="3034" dirty="0">
                <a:solidFill>
                  <a:srgbClr val="C00000"/>
                </a:solidFill>
                <a:latin typeface="+mj-lt"/>
                <a:cs typeface="Calibri"/>
              </a:rPr>
              <a:t>5</a:t>
            </a:r>
            <a:endParaRPr dirty="0">
              <a:solidFill>
                <a:srgbClr val="C00000"/>
              </a:solidFill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 err="1">
                <a:solidFill>
                  <a:srgbClr val="215867"/>
                </a:solidFill>
                <a:latin typeface="+mj-lt"/>
                <a:cs typeface="Calibri"/>
              </a:rPr>
              <a:t>n_clu</a:t>
            </a: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 =</a:t>
            </a:r>
            <a:r>
              <a:rPr lang="en-US" sz="2700" baseline="1517" dirty="0">
                <a:solidFill>
                  <a:srgbClr val="215867"/>
                </a:solidFill>
                <a:latin typeface="+mj-lt"/>
                <a:cs typeface="Calibri"/>
              </a:rPr>
              <a:t> 3</a:t>
            </a: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 </a:t>
            </a:r>
            <a:endParaRPr dirty="0">
              <a:solidFill>
                <a:srgbClr val="C00000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5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</a:t>
            </a:r>
            <a:r>
              <a:rPr sz="2700" baseline="3034" dirty="0">
                <a:solidFill>
                  <a:srgbClr val="C00000"/>
                </a:solidFill>
                <a:latin typeface="+mj-lt"/>
                <a:cs typeface="Calibri"/>
              </a:rPr>
              <a:t>1.</a:t>
            </a:r>
            <a:r>
              <a:rPr lang="en-US" sz="2700" baseline="3034" dirty="0">
                <a:solidFill>
                  <a:srgbClr val="C00000"/>
                </a:solidFill>
                <a:latin typeface="+mj-lt"/>
                <a:cs typeface="Calibri"/>
              </a:rPr>
              <a:t>00</a:t>
            </a:r>
            <a:endParaRPr dirty="0">
              <a:solidFill>
                <a:srgbClr val="C00000"/>
              </a:solidFill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 err="1">
                <a:solidFill>
                  <a:srgbClr val="215867"/>
                </a:solidFill>
                <a:latin typeface="+mj-lt"/>
                <a:cs typeface="Calibri"/>
              </a:rPr>
              <a:t>n_clu</a:t>
            </a: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 =</a:t>
            </a:r>
            <a:r>
              <a:rPr lang="en-US" sz="2700" baseline="1517" dirty="0">
                <a:solidFill>
                  <a:srgbClr val="215867"/>
                </a:solidFill>
                <a:latin typeface="+mj-lt"/>
                <a:cs typeface="Calibri"/>
              </a:rPr>
              <a:t> 3</a:t>
            </a: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 </a:t>
            </a:r>
            <a:endParaRPr dirty="0">
              <a:solidFill>
                <a:srgbClr val="C00000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5"/>
          <p:cNvSpPr txBox="1"/>
          <p:nvPr/>
        </p:nvSpPr>
        <p:spPr>
          <a:xfrm>
            <a:off x="3625916" y="365537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baseline="2560" dirty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8" name="object 15"/>
          <p:cNvSpPr txBox="1"/>
          <p:nvPr/>
        </p:nvSpPr>
        <p:spPr>
          <a:xfrm>
            <a:off x="1873883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baseline="3034" dirty="0">
                <a:solidFill>
                  <a:srgbClr val="215867"/>
                </a:solidFill>
                <a:latin typeface="+mj-lt"/>
                <a:cs typeface="Calibri"/>
              </a:rPr>
              <a:t>epsilon = </a:t>
            </a:r>
            <a:r>
              <a:rPr lang="en-US" sz="2700" baseline="3034" dirty="0">
                <a:solidFill>
                  <a:srgbClr val="C00000"/>
                </a:solidFill>
                <a:latin typeface="+mj-lt"/>
                <a:cs typeface="Calibri"/>
              </a:rPr>
              <a:t>3.50</a:t>
            </a:r>
            <a:endParaRPr dirty="0">
              <a:solidFill>
                <a:srgbClr val="C00000"/>
              </a:solidFill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baseline="1517" dirty="0" err="1">
                <a:solidFill>
                  <a:srgbClr val="215867"/>
                </a:solidFill>
                <a:latin typeface="+mj-lt"/>
                <a:cs typeface="Calibri"/>
              </a:rPr>
              <a:t>n_clu</a:t>
            </a: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 =</a:t>
            </a:r>
            <a:r>
              <a:rPr lang="en-US" sz="2700" baseline="1517" dirty="0">
                <a:solidFill>
                  <a:srgbClr val="215867"/>
                </a:solidFill>
                <a:latin typeface="+mj-lt"/>
                <a:cs typeface="Calibri"/>
              </a:rPr>
              <a:t> 3</a:t>
            </a:r>
            <a:r>
              <a:rPr sz="2700" baseline="1517" dirty="0">
                <a:solidFill>
                  <a:srgbClr val="215867"/>
                </a:solidFill>
                <a:latin typeface="+mj-lt"/>
                <a:cs typeface="Calibri"/>
              </a:rPr>
              <a:t> </a:t>
            </a:r>
            <a:endParaRPr dirty="0">
              <a:solidFill>
                <a:srgbClr val="C00000"/>
              </a:solidFill>
              <a:latin typeface="+mj-lt"/>
              <a:cs typeface="Calibri"/>
            </a:endParaRPr>
          </a:p>
        </p:txBody>
      </p:sp>
      <p:sp>
        <p:nvSpPr>
          <p:cNvPr id="89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4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5" name="Group 114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8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9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2128887" y="2209801"/>
            <a:ext cx="8005713" cy="42748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265"/>
              </a:lnSpc>
            </a:pPr>
            <a:r>
              <a:rPr sz="3600" b="1" dirty="0">
                <a:solidFill>
                  <a:srgbClr val="7F7E7E"/>
                </a:solidFill>
                <a:latin typeface="+mj-lt"/>
                <a:cs typeface="Calibri"/>
              </a:rPr>
              <a:t>fr</a:t>
            </a:r>
            <a:r>
              <a:rPr sz="3600" b="1" spc="-4" dirty="0">
                <a:solidFill>
                  <a:srgbClr val="7F7E7E"/>
                </a:solidFill>
                <a:latin typeface="+mj-lt"/>
                <a:cs typeface="Calibri"/>
              </a:rPr>
              <a:t>o</a:t>
            </a:r>
            <a:r>
              <a:rPr sz="3600" b="1" dirty="0">
                <a:solidFill>
                  <a:srgbClr val="7F7E7E"/>
                </a:solidFill>
                <a:latin typeface="+mj-lt"/>
                <a:cs typeface="Calibri"/>
              </a:rPr>
              <a:t>m </a:t>
            </a:r>
            <a:r>
              <a:rPr sz="3600" dirty="0">
                <a:solidFill>
                  <a:srgbClr val="4E81BC"/>
                </a:solidFill>
                <a:latin typeface="+mj-lt"/>
                <a:cs typeface="Calibri"/>
              </a:rPr>
              <a:t>sklearn.cluster </a:t>
            </a:r>
            <a:r>
              <a:rPr sz="3600" b="1" dirty="0">
                <a:solidFill>
                  <a:srgbClr val="7F7E7E"/>
                </a:solidFill>
                <a:latin typeface="+mj-lt"/>
                <a:cs typeface="Calibri"/>
              </a:rPr>
              <a:t>impo</a:t>
            </a:r>
            <a:r>
              <a:rPr sz="3600" b="1" spc="4" dirty="0">
                <a:solidFill>
                  <a:srgbClr val="7F7E7E"/>
                </a:solidFill>
                <a:latin typeface="+mj-lt"/>
                <a:cs typeface="Calibri"/>
              </a:rPr>
              <a:t>r</a:t>
            </a:r>
            <a:r>
              <a:rPr sz="3600" b="1" dirty="0">
                <a:solidFill>
                  <a:srgbClr val="7F7E7E"/>
                </a:solidFill>
                <a:latin typeface="+mj-lt"/>
                <a:cs typeface="Calibri"/>
              </a:rPr>
              <a:t>t </a:t>
            </a:r>
            <a:r>
              <a:rPr sz="3600" dirty="0">
                <a:solidFill>
                  <a:srgbClr val="9BBA58"/>
                </a:solidFill>
                <a:latin typeface="+mj-lt"/>
                <a:cs typeface="Calibri"/>
              </a:rPr>
              <a:t>DBSC</a:t>
            </a:r>
            <a:r>
              <a:rPr sz="3600" spc="-4" dirty="0">
                <a:solidFill>
                  <a:srgbClr val="9BBA58"/>
                </a:solidFill>
                <a:latin typeface="+mj-lt"/>
                <a:cs typeface="Calibri"/>
              </a:rPr>
              <a:t>A</a:t>
            </a:r>
            <a:r>
              <a:rPr sz="3600" dirty="0">
                <a:solidFill>
                  <a:srgbClr val="9BBA58"/>
                </a:solidFill>
                <a:latin typeface="+mj-lt"/>
                <a:cs typeface="Calibri"/>
              </a:rPr>
              <a:t>N</a:t>
            </a:r>
            <a:endParaRPr sz="36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128888" y="3352801"/>
            <a:ext cx="8005713" cy="3793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r>
              <a:rPr sz="3600" baseline="2100" dirty="0">
                <a:solidFill>
                  <a:srgbClr val="7F7E7E"/>
                </a:solidFill>
                <a:latin typeface="+mj-lt"/>
                <a:cs typeface="Calibri"/>
              </a:rPr>
              <a:t>DBSC</a:t>
            </a:r>
            <a:r>
              <a:rPr sz="3600" spc="-4" baseline="2100" dirty="0">
                <a:solidFill>
                  <a:srgbClr val="7F7E7E"/>
                </a:solidFill>
                <a:latin typeface="+mj-lt"/>
                <a:cs typeface="Calibri"/>
              </a:rPr>
              <a:t>A</a:t>
            </a:r>
            <a:r>
              <a:rPr sz="3600" baseline="2100" dirty="0">
                <a:solidFill>
                  <a:srgbClr val="7F7E7E"/>
                </a:solidFill>
                <a:latin typeface="+mj-lt"/>
                <a:cs typeface="Calibri"/>
              </a:rPr>
              <a:t>N( eps = 0.5, min_samples = 5, metric =“euclidean” )</a:t>
            </a:r>
            <a:r>
              <a:rPr lang="en-US" sz="3600" baseline="2100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sz="3600" dirty="0"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274FA-4A35-BD4D-8717-0034059824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ean Shif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2F045E-A689-CB4A-A28B-27C7356134B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269119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482833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object 5"/>
          <p:cNvSpPr txBox="1"/>
          <p:nvPr/>
        </p:nvSpPr>
        <p:spPr>
          <a:xfrm>
            <a:off x="3625916" y="369651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77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1" name="Group 11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Object 1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81602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Start with a centroid at a point</a:t>
            </a:r>
          </a:p>
        </p:txBody>
      </p:sp>
      <p:sp>
        <p:nvSpPr>
          <p:cNvPr id="88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69"/>
          <p:cNvSpPr/>
          <p:nvPr/>
        </p:nvSpPr>
        <p:spPr>
          <a:xfrm>
            <a:off x="6540855" y="159327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12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2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58" name="Group 157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5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6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61" name="object 69"/>
          <p:cNvSpPr/>
          <p:nvPr/>
        </p:nvSpPr>
        <p:spPr>
          <a:xfrm>
            <a:off x="6540855" y="159327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86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3" name="object 69"/>
          <p:cNvSpPr/>
          <p:nvPr/>
        </p:nvSpPr>
        <p:spPr>
          <a:xfrm>
            <a:off x="6672029" y="182970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84212341"/>
      </p:ext>
    </p:extLst>
  </p:cSld>
  <p:clrMapOvr>
    <a:masterClrMapping/>
  </p:clrMapOvr>
  <p:transition spd="med"/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69"/>
          <p:cNvSpPr/>
          <p:nvPr/>
        </p:nvSpPr>
        <p:spPr>
          <a:xfrm>
            <a:off x="6866567" y="211140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69"/>
          <p:cNvSpPr/>
          <p:nvPr/>
        </p:nvSpPr>
        <p:spPr>
          <a:xfrm>
            <a:off x="6975340" y="2326186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Found local density maximum! Stop.</a:t>
            </a:r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Start at another point.</a:t>
            </a:r>
          </a:p>
        </p:txBody>
      </p:sp>
      <p:sp>
        <p:nvSpPr>
          <p:cNvPr id="8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5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9"/>
          <p:cNvSpPr/>
          <p:nvPr/>
        </p:nvSpPr>
        <p:spPr>
          <a:xfrm>
            <a:off x="7643577" y="302990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0" name="object 10"/>
          <p:cNvSpPr txBox="1"/>
          <p:nvPr/>
        </p:nvSpPr>
        <p:spPr>
          <a:xfrm>
            <a:off x="3625916" y="3696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1" name="object 11"/>
          <p:cNvSpPr txBox="1"/>
          <p:nvPr/>
        </p:nvSpPr>
        <p:spPr>
          <a:xfrm>
            <a:off x="3625916" y="8522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</p:spTree>
  </p:cSld>
  <p:clrMapOvr>
    <a:masterClrMapping/>
  </p:clrMapOvr>
  <p:transition spd="med"/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7543801" y="2971800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7239639" y="2819400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6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7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7059909" y="263992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6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7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7054889" y="253067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98983784"/>
      </p:ext>
    </p:extLst>
  </p:cSld>
  <p:clrMapOvr>
    <a:masterClrMapping/>
  </p:clrMapOvr>
  <p:transition spd="med"/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6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Found the same (close) local maximum, same cluster</a:t>
            </a:r>
          </a:p>
        </p:txBody>
      </p:sp>
      <p:sp>
        <p:nvSpPr>
          <p:cNvPr id="97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42993719"/>
      </p:ext>
    </p:extLst>
  </p:cSld>
  <p:clrMapOvr>
    <a:masterClrMapping/>
  </p:clrMapOvr>
  <p:transition spd="med"/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tart at another point</a:t>
            </a:r>
          </a:p>
        </p:txBody>
      </p:sp>
      <p:sp>
        <p:nvSpPr>
          <p:cNvPr id="9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9"/>
          <p:cNvSpPr/>
          <p:nvPr/>
        </p:nvSpPr>
        <p:spPr>
          <a:xfrm>
            <a:off x="4093375" y="505023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4314182" y="505023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4559299" y="4960298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4819547" y="4626400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4905594" y="4324298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5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9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50637275"/>
      </p:ext>
    </p:extLst>
  </p:cSld>
  <p:clrMapOvr>
    <a:masterClrMapping/>
  </p:clrMapOvr>
  <p:transition spd="med"/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5122971" y="398958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Found local maximum. Stop.</a:t>
            </a:r>
          </a:p>
        </p:txBody>
      </p:sp>
      <p:sp>
        <p:nvSpPr>
          <p:cNvPr id="9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9"/>
          <p:cNvSpPr/>
          <p:nvPr/>
        </p:nvSpPr>
        <p:spPr>
          <a:xfrm>
            <a:off x="5205885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tart at another point</a:t>
            </a:r>
          </a:p>
        </p:txBody>
      </p:sp>
      <p:sp>
        <p:nvSpPr>
          <p:cNvPr id="9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5205885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7200857" y="3139125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earch for local density maximum</a:t>
            </a:r>
          </a:p>
        </p:txBody>
      </p:sp>
      <p:sp>
        <p:nvSpPr>
          <p:cNvPr id="10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5205885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7200857" y="295182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earch for local density maximum</a:t>
            </a:r>
          </a:p>
        </p:txBody>
      </p:sp>
      <p:sp>
        <p:nvSpPr>
          <p:cNvPr id="10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5205885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7080292" y="278811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Found same maximum, same cluster</a:t>
            </a:r>
          </a:p>
        </p:txBody>
      </p:sp>
      <p:sp>
        <p:nvSpPr>
          <p:cNvPr id="10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5205885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7066907" y="256428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Found same maximum, same cluster</a:t>
            </a:r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5205885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9"/>
          <p:cNvSpPr/>
          <p:nvPr/>
        </p:nvSpPr>
        <p:spPr>
          <a:xfrm>
            <a:off x="7066907" y="256428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Keep going like this, eventually it finds four unique local maxima</a:t>
            </a:r>
          </a:p>
        </p:txBody>
      </p:sp>
      <p:sp>
        <p:nvSpPr>
          <p:cNvPr id="100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5205885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6891303" y="504094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9"/>
          <p:cNvSpPr/>
          <p:nvPr/>
        </p:nvSpPr>
        <p:spPr>
          <a:xfrm>
            <a:off x="8447592" y="205534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0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Assigns points to centroids they fall to</a:t>
            </a:r>
          </a:p>
        </p:txBody>
      </p:sp>
      <p:sp>
        <p:nvSpPr>
          <p:cNvPr id="10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7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5205885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9"/>
          <p:cNvSpPr/>
          <p:nvPr/>
        </p:nvSpPr>
        <p:spPr>
          <a:xfrm>
            <a:off x="6891303" y="504094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69"/>
          <p:cNvSpPr/>
          <p:nvPr/>
        </p:nvSpPr>
        <p:spPr>
          <a:xfrm>
            <a:off x="8447592" y="205534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No cluster number or distance parameters</a:t>
            </a:r>
          </a:p>
        </p:txBody>
      </p:sp>
      <p:sp>
        <p:nvSpPr>
          <p:cNvPr id="9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7006208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5205885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6891303" y="504094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9"/>
          <p:cNvSpPr/>
          <p:nvPr/>
        </p:nvSpPr>
        <p:spPr>
          <a:xfrm>
            <a:off x="8447592" y="205534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3625916" y="369650"/>
            <a:ext cx="5438288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Remember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K-­Means?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endParaRPr sz="3200" dirty="0">
              <a:latin typeface="+mj-lt"/>
              <a:cs typeface="Calibri"/>
            </a:endParaRPr>
          </a:p>
        </p:txBody>
      </p:sp>
      <p:sp>
        <p:nvSpPr>
          <p:cNvPr id="77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3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4" name="Group 113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67141265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0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1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57660765"/>
      </p:ext>
    </p:extLst>
  </p:cSld>
  <p:clrMapOvr>
    <a:masterClrMapping/>
  </p:clrMapOvr>
  <p:transition spd="med"/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>
          <a:xfrm>
            <a:off x="2128887" y="1905000"/>
            <a:ext cx="8234313" cy="43099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265"/>
              </a:lnSpc>
            </a:pPr>
            <a:r>
              <a:rPr sz="3200" b="1" dirty="0">
                <a:solidFill>
                  <a:srgbClr val="7F7E7E"/>
                </a:solidFill>
                <a:cs typeface="Calibri"/>
              </a:rPr>
              <a:t>fr</a:t>
            </a:r>
            <a:r>
              <a:rPr sz="3200" b="1" spc="-4" dirty="0">
                <a:solidFill>
                  <a:srgbClr val="7F7E7E"/>
                </a:solidFill>
                <a:cs typeface="Calibri"/>
              </a:rPr>
              <a:t>o</a:t>
            </a:r>
            <a:r>
              <a:rPr sz="3200" b="1" dirty="0">
                <a:solidFill>
                  <a:srgbClr val="7F7E7E"/>
                </a:solidFill>
                <a:cs typeface="Calibri"/>
              </a:rPr>
              <a:t>m </a:t>
            </a:r>
            <a:r>
              <a:rPr sz="3200" dirty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3200" b="1" dirty="0">
                <a:solidFill>
                  <a:srgbClr val="7F7E7E"/>
                </a:solidFill>
                <a:cs typeface="Calibri"/>
              </a:rPr>
              <a:t>impo</a:t>
            </a:r>
            <a:r>
              <a:rPr sz="3200" b="1" spc="4" dirty="0">
                <a:solidFill>
                  <a:srgbClr val="7F7E7E"/>
                </a:solidFill>
                <a:cs typeface="Calibri"/>
              </a:rPr>
              <a:t>r</a:t>
            </a:r>
            <a:r>
              <a:rPr sz="3200" b="1" dirty="0">
                <a:solidFill>
                  <a:srgbClr val="7F7E7E"/>
                </a:solidFill>
                <a:cs typeface="Calibri"/>
              </a:rPr>
              <a:t>t </a:t>
            </a:r>
            <a:r>
              <a:rPr sz="3200" dirty="0">
                <a:solidFill>
                  <a:srgbClr val="9BBA58"/>
                </a:solidFill>
                <a:cs typeface="Calibri"/>
              </a:rPr>
              <a:t>MeanShi</a:t>
            </a:r>
            <a:r>
              <a:rPr lang="en-US" sz="3200" dirty="0">
                <a:solidFill>
                  <a:srgbClr val="9BBA58"/>
                </a:solidFill>
                <a:cs typeface="Calibri"/>
              </a:rPr>
              <a:t>ft</a:t>
            </a:r>
          </a:p>
        </p:txBody>
      </p:sp>
      <p:sp>
        <p:nvSpPr>
          <p:cNvPr id="5" name="object 2"/>
          <p:cNvSpPr txBox="1"/>
          <p:nvPr/>
        </p:nvSpPr>
        <p:spPr>
          <a:xfrm>
            <a:off x="2128888" y="2661903"/>
            <a:ext cx="7548513" cy="36715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r>
              <a:rPr sz="3200" baseline="2100" dirty="0">
                <a:solidFill>
                  <a:srgbClr val="7F7E7E"/>
                </a:solidFill>
                <a:cs typeface="Calibri"/>
              </a:rPr>
              <a:t>MeanShi</a:t>
            </a:r>
            <a:r>
              <a:rPr lang="en-US" sz="3200" baseline="2100" dirty="0">
                <a:solidFill>
                  <a:srgbClr val="7F7E7E"/>
                </a:solidFill>
                <a:cs typeface="Calibri"/>
              </a:rPr>
              <a:t>ft</a:t>
            </a:r>
            <a:r>
              <a:rPr sz="3200" baseline="2100" dirty="0">
                <a:solidFill>
                  <a:srgbClr val="7F7E7E"/>
                </a:solidFill>
                <a:cs typeface="Calibri"/>
              </a:rPr>
              <a:t>()</a:t>
            </a:r>
            <a:endParaRPr sz="32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3002502"/>
      </p:ext>
    </p:extLst>
  </p:cSld>
  <p:clrMapOvr>
    <a:masterClrMapping/>
  </p:clrMapOvr>
  <p:transition spd="med"/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565400" y="3691729"/>
            <a:ext cx="7048498" cy="2234938"/>
          </a:xfrm>
          <a:prstGeom prst="rect">
            <a:avLst/>
          </a:prstGeom>
          <a:blipFill>
            <a:blip r:embed="rId2" cstate="print"/>
            <a:srcRect/>
            <a:stretch>
              <a:fillRect t="1" b="-35244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464428" y="2122091"/>
            <a:ext cx="7593972" cy="1223839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Spectral Clustering</a:t>
            </a:r>
          </a:p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>
                <a:solidFill>
                  <a:srgbClr val="F69545"/>
                </a:solidFill>
                <a:cs typeface="Calibri"/>
              </a:rPr>
              <a:t>“kernel k-means”</a:t>
            </a:r>
            <a:endParaRPr lang="en-US" sz="6600" baseline="1861" dirty="0">
              <a:solidFill>
                <a:srgbClr val="F69545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11336387"/>
      </p:ext>
    </p:extLst>
  </p:cSld>
  <p:clrMapOvr>
    <a:masterClrMapping/>
  </p:clrMapOvr>
  <p:transition spd="med"/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3625916" y="369651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78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</a:p>
        </p:txBody>
      </p:sp>
      <p:sp>
        <p:nvSpPr>
          <p:cNvPr id="84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Object 8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486460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</a:p>
        </p:txBody>
      </p:sp>
      <p:sp>
        <p:nvSpPr>
          <p:cNvPr id="85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91" name="Straight Arrow Connector 90"/>
          <p:cNvCxnSpPr/>
          <p:nvPr/>
        </p:nvCxnSpPr>
        <p:spPr>
          <a:xfrm flipV="1">
            <a:off x="3922534" y="1981200"/>
            <a:ext cx="1716266" cy="3952008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117" name="object 53"/>
          <p:cNvSpPr/>
          <p:nvPr/>
        </p:nvSpPr>
        <p:spPr>
          <a:xfrm>
            <a:off x="4192468" y="54624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6"/>
          <p:cNvSpPr/>
          <p:nvPr/>
        </p:nvSpPr>
        <p:spPr>
          <a:xfrm>
            <a:off x="5850962" y="39471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9"/>
          <p:cNvSpPr/>
          <p:nvPr/>
        </p:nvSpPr>
        <p:spPr>
          <a:xfrm>
            <a:off x="5020571" y="4868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4"/>
          <p:cNvSpPr/>
          <p:nvPr/>
        </p:nvSpPr>
        <p:spPr>
          <a:xfrm>
            <a:off x="4513197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8"/>
          <p:cNvSpPr/>
          <p:nvPr/>
        </p:nvSpPr>
        <p:spPr>
          <a:xfrm>
            <a:off x="5052670" y="417424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grpSp>
        <p:nvGrpSpPr>
          <p:cNvPr id="142" name="Group 141"/>
          <p:cNvGrpSpPr/>
          <p:nvPr/>
        </p:nvGrpSpPr>
        <p:grpSpPr>
          <a:xfrm>
            <a:off x="4860207" y="4921685"/>
            <a:ext cx="3262817" cy="947078"/>
            <a:chOff x="3336206" y="4921685"/>
            <a:chExt cx="3262817" cy="947078"/>
          </a:xfrm>
        </p:grpSpPr>
        <p:sp>
          <p:nvSpPr>
            <p:cNvPr id="75" name="object 82"/>
            <p:cNvSpPr/>
            <p:nvPr/>
          </p:nvSpPr>
          <p:spPr>
            <a:xfrm>
              <a:off x="4414372" y="5487188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5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5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29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5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5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7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6" name="object 84"/>
            <p:cNvSpPr/>
            <p:nvPr/>
          </p:nvSpPr>
          <p:spPr>
            <a:xfrm>
              <a:off x="5399747" y="5521291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5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5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29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5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5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7" name="object 86"/>
            <p:cNvSpPr/>
            <p:nvPr/>
          </p:nvSpPr>
          <p:spPr>
            <a:xfrm>
              <a:off x="6251551" y="5502337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4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4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7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6" y="149182"/>
                  </a:lnTo>
                  <a:lnTo>
                    <a:pt x="320497" y="164255"/>
                  </a:lnTo>
                  <a:lnTo>
                    <a:pt x="320729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4" y="218395"/>
                  </a:lnTo>
                  <a:lnTo>
                    <a:pt x="311328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0" y="282563"/>
                  </a:lnTo>
                  <a:lnTo>
                    <a:pt x="276593" y="293344"/>
                  </a:lnTo>
                  <a:lnTo>
                    <a:pt x="267094" y="303312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4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4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8" name="object 63"/>
            <p:cNvSpPr/>
            <p:nvPr/>
          </p:nvSpPr>
          <p:spPr>
            <a:xfrm>
              <a:off x="5880842" y="5021529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30" h="347361">
                  <a:moveTo>
                    <a:pt x="0" y="173680"/>
                  </a:moveTo>
                  <a:lnTo>
                    <a:pt x="232" y="183106"/>
                  </a:lnTo>
                  <a:lnTo>
                    <a:pt x="1583" y="198179"/>
                  </a:lnTo>
                  <a:lnTo>
                    <a:pt x="4094" y="212848"/>
                  </a:lnTo>
                  <a:lnTo>
                    <a:pt x="7715" y="227058"/>
                  </a:lnTo>
                  <a:lnTo>
                    <a:pt x="12395" y="240752"/>
                  </a:lnTo>
                  <a:lnTo>
                    <a:pt x="18082" y="253876"/>
                  </a:lnTo>
                  <a:lnTo>
                    <a:pt x="24724" y="266375"/>
                  </a:lnTo>
                  <a:lnTo>
                    <a:pt x="32272" y="278192"/>
                  </a:lnTo>
                  <a:lnTo>
                    <a:pt x="40673" y="289272"/>
                  </a:lnTo>
                  <a:lnTo>
                    <a:pt x="49876" y="299561"/>
                  </a:lnTo>
                  <a:lnTo>
                    <a:pt x="59830" y="309001"/>
                  </a:lnTo>
                  <a:lnTo>
                    <a:pt x="70485" y="317539"/>
                  </a:lnTo>
                  <a:lnTo>
                    <a:pt x="81788" y="325118"/>
                  </a:lnTo>
                  <a:lnTo>
                    <a:pt x="93689" y="331684"/>
                  </a:lnTo>
                  <a:lnTo>
                    <a:pt x="106136" y="337180"/>
                  </a:lnTo>
                  <a:lnTo>
                    <a:pt x="119079" y="341551"/>
                  </a:lnTo>
                  <a:lnTo>
                    <a:pt x="132465" y="344742"/>
                  </a:lnTo>
                  <a:lnTo>
                    <a:pt x="146244" y="346697"/>
                  </a:lnTo>
                  <a:lnTo>
                    <a:pt x="160365" y="347361"/>
                  </a:lnTo>
                  <a:lnTo>
                    <a:pt x="169069" y="347110"/>
                  </a:lnTo>
                  <a:lnTo>
                    <a:pt x="182986" y="345646"/>
                  </a:lnTo>
                  <a:lnTo>
                    <a:pt x="196530" y="342926"/>
                  </a:lnTo>
                  <a:lnTo>
                    <a:pt x="209650" y="339004"/>
                  </a:lnTo>
                  <a:lnTo>
                    <a:pt x="222295" y="333936"/>
                  </a:lnTo>
                  <a:lnTo>
                    <a:pt x="234413" y="327778"/>
                  </a:lnTo>
                  <a:lnTo>
                    <a:pt x="245953" y="320583"/>
                  </a:lnTo>
                  <a:lnTo>
                    <a:pt x="256864" y="312409"/>
                  </a:lnTo>
                  <a:lnTo>
                    <a:pt x="267095" y="303311"/>
                  </a:lnTo>
                  <a:lnTo>
                    <a:pt x="276595" y="293343"/>
                  </a:lnTo>
                  <a:lnTo>
                    <a:pt x="285312" y="282562"/>
                  </a:lnTo>
                  <a:lnTo>
                    <a:pt x="293195" y="271023"/>
                  </a:lnTo>
                  <a:lnTo>
                    <a:pt x="300193" y="258781"/>
                  </a:lnTo>
                  <a:lnTo>
                    <a:pt x="306255" y="245892"/>
                  </a:lnTo>
                  <a:lnTo>
                    <a:pt x="311330" y="232411"/>
                  </a:lnTo>
                  <a:lnTo>
                    <a:pt x="315366" y="218394"/>
                  </a:lnTo>
                  <a:lnTo>
                    <a:pt x="318312" y="203896"/>
                  </a:lnTo>
                  <a:lnTo>
                    <a:pt x="320117" y="188973"/>
                  </a:lnTo>
                  <a:lnTo>
                    <a:pt x="320730" y="173680"/>
                  </a:lnTo>
                  <a:lnTo>
                    <a:pt x="320498" y="164254"/>
                  </a:lnTo>
                  <a:lnTo>
                    <a:pt x="319147" y="149181"/>
                  </a:lnTo>
                  <a:lnTo>
                    <a:pt x="316636" y="134512"/>
                  </a:lnTo>
                  <a:lnTo>
                    <a:pt x="313015" y="120303"/>
                  </a:lnTo>
                  <a:lnTo>
                    <a:pt x="308335" y="106609"/>
                  </a:lnTo>
                  <a:lnTo>
                    <a:pt x="302649" y="93485"/>
                  </a:lnTo>
                  <a:lnTo>
                    <a:pt x="296006" y="80986"/>
                  </a:lnTo>
                  <a:lnTo>
                    <a:pt x="288459" y="69169"/>
                  </a:lnTo>
                  <a:lnTo>
                    <a:pt x="280058" y="58089"/>
                  </a:lnTo>
                  <a:lnTo>
                    <a:pt x="270854" y="47800"/>
                  </a:lnTo>
                  <a:lnTo>
                    <a:pt x="260900" y="38359"/>
                  </a:lnTo>
                  <a:lnTo>
                    <a:pt x="250245" y="29822"/>
                  </a:lnTo>
                  <a:lnTo>
                    <a:pt x="238942" y="22242"/>
                  </a:lnTo>
                  <a:lnTo>
                    <a:pt x="227041" y="15677"/>
                  </a:lnTo>
                  <a:lnTo>
                    <a:pt x="214594" y="10181"/>
                  </a:lnTo>
                  <a:lnTo>
                    <a:pt x="201651" y="5810"/>
                  </a:lnTo>
                  <a:lnTo>
                    <a:pt x="188265" y="2619"/>
                  </a:lnTo>
                  <a:lnTo>
                    <a:pt x="174486" y="664"/>
                  </a:lnTo>
                  <a:lnTo>
                    <a:pt x="160365" y="0"/>
                  </a:lnTo>
                  <a:lnTo>
                    <a:pt x="151662" y="251"/>
                  </a:lnTo>
                  <a:lnTo>
                    <a:pt x="137745" y="1714"/>
                  </a:lnTo>
                  <a:lnTo>
                    <a:pt x="124200" y="4434"/>
                  </a:lnTo>
                  <a:lnTo>
                    <a:pt x="111080" y="8356"/>
                  </a:lnTo>
                  <a:lnTo>
                    <a:pt x="98436" y="13424"/>
                  </a:lnTo>
                  <a:lnTo>
                    <a:pt x="86318" y="19583"/>
                  </a:lnTo>
                  <a:lnTo>
                    <a:pt x="74777" y="26777"/>
                  </a:lnTo>
                  <a:lnTo>
                    <a:pt x="63866" y="34951"/>
                  </a:lnTo>
                  <a:lnTo>
                    <a:pt x="53635" y="44049"/>
                  </a:lnTo>
                  <a:lnTo>
                    <a:pt x="44136" y="54017"/>
                  </a:lnTo>
                  <a:lnTo>
                    <a:pt x="35419" y="64798"/>
                  </a:lnTo>
                  <a:lnTo>
                    <a:pt x="27535" y="76337"/>
                  </a:lnTo>
                  <a:lnTo>
                    <a:pt x="20537" y="88579"/>
                  </a:lnTo>
                  <a:lnTo>
                    <a:pt x="14475" y="101468"/>
                  </a:lnTo>
                  <a:lnTo>
                    <a:pt x="9400" y="114948"/>
                  </a:lnTo>
                  <a:lnTo>
                    <a:pt x="5364" y="128965"/>
                  </a:lnTo>
                  <a:lnTo>
                    <a:pt x="2418" y="143463"/>
                  </a:lnTo>
                  <a:lnTo>
                    <a:pt x="613" y="15838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9" name="object 40"/>
            <p:cNvSpPr/>
            <p:nvPr/>
          </p:nvSpPr>
          <p:spPr>
            <a:xfrm>
              <a:off x="5213120" y="4921685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1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50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5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5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29" y="173681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5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4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7"/>
                  </a:lnTo>
                  <a:lnTo>
                    <a:pt x="0" y="173681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80" name="object 28"/>
            <p:cNvSpPr/>
            <p:nvPr/>
          </p:nvSpPr>
          <p:spPr>
            <a:xfrm>
              <a:off x="4877989" y="5328656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30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4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4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8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30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4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4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69"/>
            <p:cNvSpPr/>
            <p:nvPr/>
          </p:nvSpPr>
          <p:spPr>
            <a:xfrm>
              <a:off x="3336206" y="5487189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2">
                  <a:moveTo>
                    <a:pt x="0" y="173681"/>
                  </a:moveTo>
                  <a:lnTo>
                    <a:pt x="232" y="183107"/>
                  </a:lnTo>
                  <a:lnTo>
                    <a:pt x="1583" y="198180"/>
                  </a:lnTo>
                  <a:lnTo>
                    <a:pt x="4094" y="212849"/>
                  </a:lnTo>
                  <a:lnTo>
                    <a:pt x="7715" y="227058"/>
                  </a:lnTo>
                  <a:lnTo>
                    <a:pt x="12395" y="240752"/>
                  </a:lnTo>
                  <a:lnTo>
                    <a:pt x="18082" y="253877"/>
                  </a:lnTo>
                  <a:lnTo>
                    <a:pt x="24724" y="266375"/>
                  </a:lnTo>
                  <a:lnTo>
                    <a:pt x="32272" y="278192"/>
                  </a:lnTo>
                  <a:lnTo>
                    <a:pt x="40673" y="289273"/>
                  </a:lnTo>
                  <a:lnTo>
                    <a:pt x="49876" y="299561"/>
                  </a:lnTo>
                  <a:lnTo>
                    <a:pt x="59830" y="309002"/>
                  </a:lnTo>
                  <a:lnTo>
                    <a:pt x="70485" y="317539"/>
                  </a:lnTo>
                  <a:lnTo>
                    <a:pt x="81788" y="325119"/>
                  </a:lnTo>
                  <a:lnTo>
                    <a:pt x="93689" y="331684"/>
                  </a:lnTo>
                  <a:lnTo>
                    <a:pt x="106136" y="337180"/>
                  </a:lnTo>
                  <a:lnTo>
                    <a:pt x="119079" y="341551"/>
                  </a:lnTo>
                  <a:lnTo>
                    <a:pt x="132465" y="344742"/>
                  </a:lnTo>
                  <a:lnTo>
                    <a:pt x="146244" y="346697"/>
                  </a:lnTo>
                  <a:lnTo>
                    <a:pt x="160365" y="347362"/>
                  </a:lnTo>
                  <a:lnTo>
                    <a:pt x="169068" y="347110"/>
                  </a:lnTo>
                  <a:lnTo>
                    <a:pt x="182985" y="345647"/>
                  </a:lnTo>
                  <a:lnTo>
                    <a:pt x="196529" y="342927"/>
                  </a:lnTo>
                  <a:lnTo>
                    <a:pt x="209649" y="339005"/>
                  </a:lnTo>
                  <a:lnTo>
                    <a:pt x="222294" y="333937"/>
                  </a:lnTo>
                  <a:lnTo>
                    <a:pt x="234412" y="327778"/>
                  </a:lnTo>
                  <a:lnTo>
                    <a:pt x="245952" y="320584"/>
                  </a:lnTo>
                  <a:lnTo>
                    <a:pt x="256863" y="312410"/>
                  </a:lnTo>
                  <a:lnTo>
                    <a:pt x="267094" y="303312"/>
                  </a:lnTo>
                  <a:lnTo>
                    <a:pt x="276594" y="293344"/>
                  </a:lnTo>
                  <a:lnTo>
                    <a:pt x="285310" y="282563"/>
                  </a:lnTo>
                  <a:lnTo>
                    <a:pt x="293194" y="271024"/>
                  </a:lnTo>
                  <a:lnTo>
                    <a:pt x="300192" y="258782"/>
                  </a:lnTo>
                  <a:lnTo>
                    <a:pt x="306254" y="245893"/>
                  </a:lnTo>
                  <a:lnTo>
                    <a:pt x="311328" y="232412"/>
                  </a:lnTo>
                  <a:lnTo>
                    <a:pt x="315364" y="218395"/>
                  </a:lnTo>
                  <a:lnTo>
                    <a:pt x="318311" y="203897"/>
                  </a:lnTo>
                  <a:lnTo>
                    <a:pt x="320116" y="188974"/>
                  </a:lnTo>
                  <a:lnTo>
                    <a:pt x="320729" y="173681"/>
                  </a:lnTo>
                  <a:lnTo>
                    <a:pt x="320497" y="164255"/>
                  </a:lnTo>
                  <a:lnTo>
                    <a:pt x="319146" y="149182"/>
                  </a:lnTo>
                  <a:lnTo>
                    <a:pt x="316635" y="134513"/>
                  </a:lnTo>
                  <a:lnTo>
                    <a:pt x="313014" y="120304"/>
                  </a:lnTo>
                  <a:lnTo>
                    <a:pt x="308334" y="106609"/>
                  </a:lnTo>
                  <a:lnTo>
                    <a:pt x="302648" y="93485"/>
                  </a:lnTo>
                  <a:lnTo>
                    <a:pt x="296005" y="80986"/>
                  </a:lnTo>
                  <a:lnTo>
                    <a:pt x="288458" y="69169"/>
                  </a:lnTo>
                  <a:lnTo>
                    <a:pt x="280057" y="58089"/>
                  </a:lnTo>
                  <a:lnTo>
                    <a:pt x="270854" y="47800"/>
                  </a:lnTo>
                  <a:lnTo>
                    <a:pt x="260899" y="38360"/>
                  </a:lnTo>
                  <a:lnTo>
                    <a:pt x="250245" y="29822"/>
                  </a:lnTo>
                  <a:lnTo>
                    <a:pt x="238942" y="22242"/>
                  </a:lnTo>
                  <a:lnTo>
                    <a:pt x="227041" y="15677"/>
                  </a:lnTo>
                  <a:lnTo>
                    <a:pt x="214594" y="10181"/>
                  </a:lnTo>
                  <a:lnTo>
                    <a:pt x="201651" y="5810"/>
                  </a:lnTo>
                  <a:lnTo>
                    <a:pt x="188265" y="2619"/>
                  </a:lnTo>
                  <a:lnTo>
                    <a:pt x="174486" y="664"/>
                  </a:lnTo>
                  <a:lnTo>
                    <a:pt x="160365" y="0"/>
                  </a:lnTo>
                  <a:lnTo>
                    <a:pt x="151661" y="251"/>
                  </a:lnTo>
                  <a:lnTo>
                    <a:pt x="137744" y="1714"/>
                  </a:lnTo>
                  <a:lnTo>
                    <a:pt x="124200" y="4434"/>
                  </a:lnTo>
                  <a:lnTo>
                    <a:pt x="111080" y="8356"/>
                  </a:lnTo>
                  <a:lnTo>
                    <a:pt x="98435" y="13424"/>
                  </a:lnTo>
                  <a:lnTo>
                    <a:pt x="86317" y="19583"/>
                  </a:lnTo>
                  <a:lnTo>
                    <a:pt x="74777" y="26777"/>
                  </a:lnTo>
                  <a:lnTo>
                    <a:pt x="63866" y="34951"/>
                  </a:lnTo>
                  <a:lnTo>
                    <a:pt x="53635" y="44050"/>
                  </a:lnTo>
                  <a:lnTo>
                    <a:pt x="44135" y="54017"/>
                  </a:lnTo>
                  <a:lnTo>
                    <a:pt x="35418" y="64798"/>
                  </a:lnTo>
                  <a:lnTo>
                    <a:pt x="27535" y="76337"/>
                  </a:lnTo>
                  <a:lnTo>
                    <a:pt x="20537" y="88579"/>
                  </a:lnTo>
                  <a:lnTo>
                    <a:pt x="14475" y="101468"/>
                  </a:lnTo>
                  <a:lnTo>
                    <a:pt x="9400" y="114949"/>
                  </a:lnTo>
                  <a:lnTo>
                    <a:pt x="5364" y="128966"/>
                  </a:lnTo>
                  <a:lnTo>
                    <a:pt x="2418" y="143464"/>
                  </a:lnTo>
                  <a:lnTo>
                    <a:pt x="613" y="158387"/>
                  </a:lnTo>
                  <a:lnTo>
                    <a:pt x="0" y="173681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3" name="object 72"/>
          <p:cNvSpPr/>
          <p:nvPr/>
        </p:nvSpPr>
        <p:spPr>
          <a:xfrm>
            <a:off x="5533764" y="44386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6"/>
          <p:cNvSpPr/>
          <p:nvPr/>
        </p:nvSpPr>
        <p:spPr>
          <a:xfrm>
            <a:off x="7804095" y="38556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4"/>
          <p:cNvSpPr/>
          <p:nvPr/>
        </p:nvSpPr>
        <p:spPr>
          <a:xfrm>
            <a:off x="7426602" y="40432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2"/>
          <p:cNvSpPr/>
          <p:nvPr/>
        </p:nvSpPr>
        <p:spPr>
          <a:xfrm>
            <a:off x="6598440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8"/>
          <p:cNvSpPr/>
          <p:nvPr/>
        </p:nvSpPr>
        <p:spPr>
          <a:xfrm>
            <a:off x="8556365" y="40005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0"/>
          <p:cNvSpPr/>
          <p:nvPr/>
        </p:nvSpPr>
        <p:spPr>
          <a:xfrm>
            <a:off x="8909165" y="417424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1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1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1"/>
                </a:lnTo>
                <a:lnTo>
                  <a:pt x="27689" y="268889"/>
                </a:lnTo>
                <a:lnTo>
                  <a:pt x="35632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4"/>
          <p:cNvSpPr/>
          <p:nvPr/>
        </p:nvSpPr>
        <p:spPr>
          <a:xfrm>
            <a:off x="9251248" y="32099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8"/>
          <p:cNvSpPr/>
          <p:nvPr/>
        </p:nvSpPr>
        <p:spPr>
          <a:xfrm>
            <a:off x="8077321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2"/>
          <p:cNvSpPr/>
          <p:nvPr/>
        </p:nvSpPr>
        <p:spPr>
          <a:xfrm>
            <a:off x="8235636" y="35307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6"/>
          <p:cNvSpPr/>
          <p:nvPr/>
        </p:nvSpPr>
        <p:spPr>
          <a:xfrm>
            <a:off x="9365227" y="3773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8"/>
          <p:cNvSpPr/>
          <p:nvPr/>
        </p:nvSpPr>
        <p:spPr>
          <a:xfrm>
            <a:off x="7323001" y="356419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0"/>
          <p:cNvSpPr/>
          <p:nvPr/>
        </p:nvSpPr>
        <p:spPr>
          <a:xfrm>
            <a:off x="7084113" y="33836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4"/>
          <p:cNvSpPr/>
          <p:nvPr/>
        </p:nvSpPr>
        <p:spPr>
          <a:xfrm>
            <a:off x="8716732" y="32992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4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2"/>
          <p:cNvSpPr/>
          <p:nvPr/>
        </p:nvSpPr>
        <p:spPr>
          <a:xfrm>
            <a:off x="6562354" y="36819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0"/>
          <p:cNvSpPr/>
          <p:nvPr/>
        </p:nvSpPr>
        <p:spPr>
          <a:xfrm>
            <a:off x="8748802" y="21862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"/>
          <p:cNvSpPr/>
          <p:nvPr/>
        </p:nvSpPr>
        <p:spPr>
          <a:xfrm>
            <a:off x="7057851" y="40293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74" name="Straight Arrow Connector 73"/>
          <p:cNvCxnSpPr/>
          <p:nvPr/>
        </p:nvCxnSpPr>
        <p:spPr>
          <a:xfrm flipV="1">
            <a:off x="3922534" y="3200400"/>
            <a:ext cx="3162058" cy="2732808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76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69"/>
          <p:cNvSpPr/>
          <p:nvPr/>
        </p:nvSpPr>
        <p:spPr>
          <a:xfrm>
            <a:off x="4860206" y="54871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8"/>
          <p:cNvSpPr/>
          <p:nvPr/>
        </p:nvSpPr>
        <p:spPr>
          <a:xfrm>
            <a:off x="4513197" y="56608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2"/>
          <p:cNvSpPr/>
          <p:nvPr/>
        </p:nvSpPr>
        <p:spPr>
          <a:xfrm>
            <a:off x="6722720" y="45743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8428072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6"/>
          <p:cNvSpPr/>
          <p:nvPr/>
        </p:nvSpPr>
        <p:spPr>
          <a:xfrm>
            <a:off x="5850962" y="47451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0"/>
          <p:cNvSpPr/>
          <p:nvPr/>
        </p:nvSpPr>
        <p:spPr>
          <a:xfrm>
            <a:off x="5373401" y="55372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1"/>
          <p:cNvSpPr/>
          <p:nvPr/>
        </p:nvSpPr>
        <p:spPr>
          <a:xfrm>
            <a:off x="6277710" y="4571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5"/>
                </a:lnTo>
                <a:lnTo>
                  <a:pt x="285310" y="282564"/>
                </a:lnTo>
                <a:lnTo>
                  <a:pt x="293193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6"/>
          <p:cNvSpPr/>
          <p:nvPr/>
        </p:nvSpPr>
        <p:spPr>
          <a:xfrm>
            <a:off x="6171693" y="54427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8"/>
          <p:cNvSpPr/>
          <p:nvPr/>
        </p:nvSpPr>
        <p:spPr>
          <a:xfrm>
            <a:off x="5020571" y="53635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2"/>
          <p:cNvSpPr/>
          <p:nvPr/>
        </p:nvSpPr>
        <p:spPr>
          <a:xfrm>
            <a:off x="6883085" y="513982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4"/>
          <p:cNvSpPr/>
          <p:nvPr/>
        </p:nvSpPr>
        <p:spPr>
          <a:xfrm>
            <a:off x="8695053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8"/>
          <p:cNvSpPr/>
          <p:nvPr/>
        </p:nvSpPr>
        <p:spPr>
          <a:xfrm>
            <a:off x="7084113" y="46741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2"/>
          <p:cNvSpPr/>
          <p:nvPr/>
        </p:nvSpPr>
        <p:spPr>
          <a:xfrm>
            <a:off x="7105873" y="533215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6"/>
          <p:cNvSpPr/>
          <p:nvPr/>
        </p:nvSpPr>
        <p:spPr>
          <a:xfrm>
            <a:off x="5494743" y="50953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5530234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71"/>
          <p:cNvSpPr/>
          <p:nvPr/>
        </p:nvSpPr>
        <p:spPr>
          <a:xfrm>
            <a:off x="7885937" y="51978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8"/>
          <p:cNvSpPr/>
          <p:nvPr/>
        </p:nvSpPr>
        <p:spPr>
          <a:xfrm>
            <a:off x="7826027" y="479246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0"/>
          <p:cNvSpPr/>
          <p:nvPr/>
        </p:nvSpPr>
        <p:spPr>
          <a:xfrm>
            <a:off x="7725572" y="46030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6"/>
          <p:cNvSpPr/>
          <p:nvPr/>
        </p:nvSpPr>
        <p:spPr>
          <a:xfrm>
            <a:off x="9251248" y="42241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1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2"/>
          <p:cNvSpPr/>
          <p:nvPr/>
        </p:nvSpPr>
        <p:spPr>
          <a:xfrm>
            <a:off x="8146759" y="39083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"/>
          <p:cNvSpPr/>
          <p:nvPr/>
        </p:nvSpPr>
        <p:spPr>
          <a:xfrm>
            <a:off x="8235636" y="42556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0"/>
          <p:cNvSpPr/>
          <p:nvPr/>
        </p:nvSpPr>
        <p:spPr>
          <a:xfrm>
            <a:off x="9365227" y="53635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7"/>
          <p:cNvSpPr/>
          <p:nvPr/>
        </p:nvSpPr>
        <p:spPr>
          <a:xfrm>
            <a:off x="8716732" y="373938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6"/>
          <p:cNvSpPr/>
          <p:nvPr/>
        </p:nvSpPr>
        <p:spPr>
          <a:xfrm>
            <a:off x="8748802" y="46741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3"/>
          <p:cNvSpPr/>
          <p:nvPr/>
        </p:nvSpPr>
        <p:spPr>
          <a:xfrm>
            <a:off x="7725572" y="35657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5"/>
                </a:lnTo>
                <a:lnTo>
                  <a:pt x="24723" y="266374"/>
                </a:lnTo>
                <a:lnTo>
                  <a:pt x="32271" y="278191"/>
                </a:lnTo>
                <a:lnTo>
                  <a:pt x="40671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3" y="317539"/>
                </a:lnTo>
                <a:lnTo>
                  <a:pt x="81787" y="325118"/>
                </a:lnTo>
                <a:lnTo>
                  <a:pt x="93687" y="331683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8" y="342927"/>
                </a:lnTo>
                <a:lnTo>
                  <a:pt x="209648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2" y="312410"/>
                </a:lnTo>
                <a:lnTo>
                  <a:pt x="267093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8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1"/>
                </a:lnTo>
                <a:lnTo>
                  <a:pt x="238940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3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5" y="34951"/>
                </a:lnTo>
                <a:lnTo>
                  <a:pt x="53634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</a:p>
        </p:txBody>
      </p:sp>
    </p:spTree>
  </p:cSld>
  <p:clrMapOvr>
    <a:masterClrMapping/>
  </p:clrMapOvr>
  <p:transition spd="med"/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3" name="Straight Arrow Connector 72"/>
          <p:cNvCxnSpPr/>
          <p:nvPr/>
        </p:nvCxnSpPr>
        <p:spPr>
          <a:xfrm flipV="1">
            <a:off x="3922534" y="5021530"/>
            <a:ext cx="4772160" cy="911679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74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4"/>
          <p:cNvSpPr/>
          <p:nvPr/>
        </p:nvSpPr>
        <p:spPr>
          <a:xfrm>
            <a:off x="6763383" y="5790093"/>
            <a:ext cx="347472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4"/>
          <p:cNvSpPr/>
          <p:nvPr/>
        </p:nvSpPr>
        <p:spPr>
          <a:xfrm>
            <a:off x="6693750" y="597950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0"/>
          <p:cNvSpPr/>
          <p:nvPr/>
        </p:nvSpPr>
        <p:spPr>
          <a:xfrm>
            <a:off x="5877225" y="56135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26"/>
          <p:cNvSpPr/>
          <p:nvPr/>
        </p:nvSpPr>
        <p:spPr>
          <a:xfrm>
            <a:off x="9222278" y="5629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8117786" y="53135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2"/>
          <p:cNvSpPr/>
          <p:nvPr/>
        </p:nvSpPr>
        <p:spPr>
          <a:xfrm>
            <a:off x="6248741" y="59766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5102489" y="60239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7797057" y="6197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4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696602" y="6008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8687764" y="51445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7055142" y="60793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4"/>
          <p:cNvSpPr/>
          <p:nvPr/>
        </p:nvSpPr>
        <p:spPr>
          <a:xfrm>
            <a:off x="8719832" y="60793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5"/>
          <p:cNvSpPr/>
          <p:nvPr/>
        </p:nvSpPr>
        <p:spPr>
          <a:xfrm>
            <a:off x="7696602" y="49708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9" y="347111"/>
                </a:lnTo>
                <a:lnTo>
                  <a:pt x="182986" y="345648"/>
                </a:lnTo>
                <a:lnTo>
                  <a:pt x="196530" y="342928"/>
                </a:lnTo>
                <a:lnTo>
                  <a:pt x="209650" y="339006"/>
                </a:lnTo>
                <a:lnTo>
                  <a:pt x="222295" y="333938"/>
                </a:lnTo>
                <a:lnTo>
                  <a:pt x="234413" y="327779"/>
                </a:lnTo>
                <a:lnTo>
                  <a:pt x="245953" y="320585"/>
                </a:lnTo>
                <a:lnTo>
                  <a:pt x="256864" y="312411"/>
                </a:lnTo>
                <a:lnTo>
                  <a:pt x="267095" y="303312"/>
                </a:lnTo>
                <a:lnTo>
                  <a:pt x="276595" y="293345"/>
                </a:lnTo>
                <a:lnTo>
                  <a:pt x="285312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3"/>
                </a:lnTo>
                <a:lnTo>
                  <a:pt x="315366" y="218396"/>
                </a:lnTo>
                <a:lnTo>
                  <a:pt x="318312" y="203898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4"/>
          <p:cNvSpPr/>
          <p:nvPr/>
        </p:nvSpPr>
        <p:spPr>
          <a:xfrm>
            <a:off x="5494743" y="50953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72"/>
          <p:cNvSpPr/>
          <p:nvPr/>
        </p:nvSpPr>
        <p:spPr>
          <a:xfrm>
            <a:off x="8206667" y="56608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9"/>
          <p:cNvSpPr/>
          <p:nvPr/>
        </p:nvSpPr>
        <p:spPr>
          <a:xfrm>
            <a:off x="4860206" y="54871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4513197" y="56608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0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4"/>
          <p:cNvSpPr/>
          <p:nvPr/>
        </p:nvSpPr>
        <p:spPr>
          <a:xfrm>
            <a:off x="8428072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0"/>
          <p:cNvSpPr/>
          <p:nvPr/>
        </p:nvSpPr>
        <p:spPr>
          <a:xfrm>
            <a:off x="5373401" y="55372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6"/>
          <p:cNvSpPr/>
          <p:nvPr/>
        </p:nvSpPr>
        <p:spPr>
          <a:xfrm>
            <a:off x="6171693" y="54427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52"/>
          <p:cNvSpPr/>
          <p:nvPr/>
        </p:nvSpPr>
        <p:spPr>
          <a:xfrm>
            <a:off x="6883085" y="513982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4"/>
          <p:cNvSpPr/>
          <p:nvPr/>
        </p:nvSpPr>
        <p:spPr>
          <a:xfrm>
            <a:off x="8695053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2"/>
          <p:cNvSpPr/>
          <p:nvPr/>
        </p:nvSpPr>
        <p:spPr>
          <a:xfrm>
            <a:off x="7105873" y="533215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69"/>
          <p:cNvSpPr/>
          <p:nvPr/>
        </p:nvSpPr>
        <p:spPr>
          <a:xfrm>
            <a:off x="5530234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71"/>
          <p:cNvSpPr/>
          <p:nvPr/>
        </p:nvSpPr>
        <p:spPr>
          <a:xfrm>
            <a:off x="7885937" y="51978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0"/>
          <p:cNvSpPr/>
          <p:nvPr/>
        </p:nvSpPr>
        <p:spPr>
          <a:xfrm>
            <a:off x="9365227" y="53635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</a:p>
        </p:txBody>
      </p:sp>
    </p:spTree>
  </p:cSld>
  <p:clrMapOvr>
    <a:masterClrMapping/>
  </p:clrMapOvr>
  <p:transition spd="med"/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764114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object 5"/>
          <p:cNvSpPr txBox="1"/>
          <p:nvPr/>
        </p:nvSpPr>
        <p:spPr>
          <a:xfrm>
            <a:off x="3625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</a:p>
        </p:txBody>
      </p:sp>
      <p:sp>
        <p:nvSpPr>
          <p:cNvPr id="80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192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824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7885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885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404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081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431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9172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117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9525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248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631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942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781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615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615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763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687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883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8695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055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8880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696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401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7105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454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423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102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885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8278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32"/>
          <p:cNvSpPr/>
          <p:nvPr/>
        </p:nvSpPr>
        <p:spPr>
          <a:xfrm>
            <a:off x="4608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3"/>
          <p:cNvSpPr txBox="1"/>
          <p:nvPr/>
        </p:nvSpPr>
        <p:spPr>
          <a:xfrm>
            <a:off x="5736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20095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Now perform K‐Means on the low dimension space (k=3)</a:t>
            </a:r>
          </a:p>
        </p:txBody>
      </p:sp>
      <p:sp>
        <p:nvSpPr>
          <p:cNvPr id="80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192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824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7885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885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404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081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431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9172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117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9525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248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631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942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781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615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615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763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687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883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8695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055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8880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696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401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7105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454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423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102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885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8278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74"/>
          <p:cNvSpPr/>
          <p:nvPr/>
        </p:nvSpPr>
        <p:spPr>
          <a:xfrm>
            <a:off x="8031678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74"/>
          <p:cNvSpPr/>
          <p:nvPr/>
        </p:nvSpPr>
        <p:spPr>
          <a:xfrm>
            <a:off x="9359434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32"/>
          <p:cNvSpPr/>
          <p:nvPr/>
        </p:nvSpPr>
        <p:spPr>
          <a:xfrm>
            <a:off x="4608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50"/>
          <p:cNvSpPr/>
          <p:nvPr/>
        </p:nvSpPr>
        <p:spPr>
          <a:xfrm>
            <a:off x="4758946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3"/>
          <p:cNvSpPr txBox="1"/>
          <p:nvPr/>
        </p:nvSpPr>
        <p:spPr>
          <a:xfrm>
            <a:off x="5736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7296198"/>
      </p:ext>
    </p:extLst>
  </p:cSld>
  <p:clrMapOvr>
    <a:masterClrMapping/>
  </p:clrMapOvr>
  <p:transition spd="med"/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16"/>
          <p:cNvSpPr/>
          <p:nvPr/>
        </p:nvSpPr>
        <p:spPr>
          <a:xfrm>
            <a:off x="4192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7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8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9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21"/>
          <p:cNvSpPr/>
          <p:nvPr/>
        </p:nvSpPr>
        <p:spPr>
          <a:xfrm>
            <a:off x="6824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3"/>
          <p:cNvSpPr/>
          <p:nvPr/>
        </p:nvSpPr>
        <p:spPr>
          <a:xfrm>
            <a:off x="7885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4"/>
          <p:cNvSpPr/>
          <p:nvPr/>
        </p:nvSpPr>
        <p:spPr>
          <a:xfrm>
            <a:off x="7885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5"/>
          <p:cNvSpPr/>
          <p:nvPr/>
        </p:nvSpPr>
        <p:spPr>
          <a:xfrm>
            <a:off x="7404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8"/>
          <p:cNvSpPr/>
          <p:nvPr/>
        </p:nvSpPr>
        <p:spPr>
          <a:xfrm>
            <a:off x="6081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9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0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4431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9172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117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9525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6248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6631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4942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4781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7"/>
          <p:cNvSpPr/>
          <p:nvPr/>
        </p:nvSpPr>
        <p:spPr>
          <a:xfrm>
            <a:off x="7615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7615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0"/>
          <p:cNvSpPr/>
          <p:nvPr/>
        </p:nvSpPr>
        <p:spPr>
          <a:xfrm>
            <a:off x="6763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1"/>
          <p:cNvSpPr/>
          <p:nvPr/>
        </p:nvSpPr>
        <p:spPr>
          <a:xfrm>
            <a:off x="8687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4"/>
          <p:cNvSpPr/>
          <p:nvPr/>
        </p:nvSpPr>
        <p:spPr>
          <a:xfrm>
            <a:off x="6883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6"/>
          <p:cNvSpPr/>
          <p:nvPr/>
        </p:nvSpPr>
        <p:spPr>
          <a:xfrm>
            <a:off x="8695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8"/>
          <p:cNvSpPr/>
          <p:nvPr/>
        </p:nvSpPr>
        <p:spPr>
          <a:xfrm>
            <a:off x="7055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0"/>
          <p:cNvSpPr/>
          <p:nvPr/>
        </p:nvSpPr>
        <p:spPr>
          <a:xfrm>
            <a:off x="8880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2"/>
          <p:cNvSpPr/>
          <p:nvPr/>
        </p:nvSpPr>
        <p:spPr>
          <a:xfrm>
            <a:off x="7696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4"/>
          <p:cNvSpPr/>
          <p:nvPr/>
        </p:nvSpPr>
        <p:spPr>
          <a:xfrm>
            <a:off x="6401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6"/>
          <p:cNvSpPr/>
          <p:nvPr/>
        </p:nvSpPr>
        <p:spPr>
          <a:xfrm>
            <a:off x="7105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8"/>
          <p:cNvSpPr/>
          <p:nvPr/>
        </p:nvSpPr>
        <p:spPr>
          <a:xfrm>
            <a:off x="7454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70"/>
          <p:cNvSpPr/>
          <p:nvPr/>
        </p:nvSpPr>
        <p:spPr>
          <a:xfrm>
            <a:off x="5423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4"/>
          <p:cNvSpPr/>
          <p:nvPr/>
        </p:nvSpPr>
        <p:spPr>
          <a:xfrm>
            <a:off x="5102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5"/>
          <p:cNvSpPr/>
          <p:nvPr/>
        </p:nvSpPr>
        <p:spPr>
          <a:xfrm>
            <a:off x="7885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8"/>
          <p:cNvSpPr/>
          <p:nvPr/>
        </p:nvSpPr>
        <p:spPr>
          <a:xfrm>
            <a:off x="8278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4"/>
          <p:cNvSpPr/>
          <p:nvPr/>
        </p:nvSpPr>
        <p:spPr>
          <a:xfrm>
            <a:off x="7697978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4"/>
          <p:cNvSpPr/>
          <p:nvPr/>
        </p:nvSpPr>
        <p:spPr>
          <a:xfrm>
            <a:off x="9359434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</a:p>
        </p:txBody>
      </p:sp>
      <p:sp>
        <p:nvSpPr>
          <p:cNvPr id="131" name="object 32"/>
          <p:cNvSpPr/>
          <p:nvPr/>
        </p:nvSpPr>
        <p:spPr>
          <a:xfrm>
            <a:off x="4608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50"/>
          <p:cNvSpPr/>
          <p:nvPr/>
        </p:nvSpPr>
        <p:spPr>
          <a:xfrm>
            <a:off x="5176254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"/>
          <p:cNvSpPr txBox="1"/>
          <p:nvPr/>
        </p:nvSpPr>
        <p:spPr>
          <a:xfrm>
            <a:off x="5736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75075106"/>
      </p:ext>
    </p:extLst>
  </p:cSld>
  <p:clrMapOvr>
    <a:masterClrMapping/>
  </p:clrMapOvr>
  <p:transition spd="med"/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6"/>
          <p:cNvSpPr/>
          <p:nvPr/>
        </p:nvSpPr>
        <p:spPr>
          <a:xfrm>
            <a:off x="4192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7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8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19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6824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3"/>
          <p:cNvSpPr/>
          <p:nvPr/>
        </p:nvSpPr>
        <p:spPr>
          <a:xfrm>
            <a:off x="7885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7885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5"/>
          <p:cNvSpPr/>
          <p:nvPr/>
        </p:nvSpPr>
        <p:spPr>
          <a:xfrm>
            <a:off x="7404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8"/>
          <p:cNvSpPr/>
          <p:nvPr/>
        </p:nvSpPr>
        <p:spPr>
          <a:xfrm>
            <a:off x="6081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9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4431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9172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8117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9525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248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6631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4942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4781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7"/>
          <p:cNvSpPr/>
          <p:nvPr/>
        </p:nvSpPr>
        <p:spPr>
          <a:xfrm>
            <a:off x="7615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7615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6763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1"/>
          <p:cNvSpPr/>
          <p:nvPr/>
        </p:nvSpPr>
        <p:spPr>
          <a:xfrm>
            <a:off x="8687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6883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8695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7055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8880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7696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4"/>
          <p:cNvSpPr/>
          <p:nvPr/>
        </p:nvSpPr>
        <p:spPr>
          <a:xfrm>
            <a:off x="6401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7105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7454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0"/>
          <p:cNvSpPr/>
          <p:nvPr/>
        </p:nvSpPr>
        <p:spPr>
          <a:xfrm>
            <a:off x="5423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4"/>
          <p:cNvSpPr/>
          <p:nvPr/>
        </p:nvSpPr>
        <p:spPr>
          <a:xfrm>
            <a:off x="5102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5"/>
          <p:cNvSpPr/>
          <p:nvPr/>
        </p:nvSpPr>
        <p:spPr>
          <a:xfrm>
            <a:off x="7885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8"/>
          <p:cNvSpPr/>
          <p:nvPr/>
        </p:nvSpPr>
        <p:spPr>
          <a:xfrm>
            <a:off x="8278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7697978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4"/>
          <p:cNvSpPr/>
          <p:nvPr/>
        </p:nvSpPr>
        <p:spPr>
          <a:xfrm>
            <a:off x="9359434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</a:p>
        </p:txBody>
      </p:sp>
      <p:sp>
        <p:nvSpPr>
          <p:cNvPr id="132" name="object 32"/>
          <p:cNvSpPr/>
          <p:nvPr/>
        </p:nvSpPr>
        <p:spPr>
          <a:xfrm>
            <a:off x="4608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50"/>
          <p:cNvSpPr/>
          <p:nvPr/>
        </p:nvSpPr>
        <p:spPr>
          <a:xfrm>
            <a:off x="5176254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3"/>
          <p:cNvSpPr txBox="1"/>
          <p:nvPr/>
        </p:nvSpPr>
        <p:spPr>
          <a:xfrm>
            <a:off x="5736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6"/>
          <p:cNvSpPr/>
          <p:nvPr/>
        </p:nvSpPr>
        <p:spPr>
          <a:xfrm>
            <a:off x="4192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7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8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19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6824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3"/>
          <p:cNvSpPr/>
          <p:nvPr/>
        </p:nvSpPr>
        <p:spPr>
          <a:xfrm>
            <a:off x="7885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7885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5"/>
          <p:cNvSpPr/>
          <p:nvPr/>
        </p:nvSpPr>
        <p:spPr>
          <a:xfrm>
            <a:off x="7404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8"/>
          <p:cNvSpPr/>
          <p:nvPr/>
        </p:nvSpPr>
        <p:spPr>
          <a:xfrm>
            <a:off x="6081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9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4431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9172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8117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9525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248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6631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4942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4781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7"/>
          <p:cNvSpPr/>
          <p:nvPr/>
        </p:nvSpPr>
        <p:spPr>
          <a:xfrm>
            <a:off x="7615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7615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6763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1"/>
          <p:cNvSpPr/>
          <p:nvPr/>
        </p:nvSpPr>
        <p:spPr>
          <a:xfrm>
            <a:off x="8687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6883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8695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7055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8880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7696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4"/>
          <p:cNvSpPr/>
          <p:nvPr/>
        </p:nvSpPr>
        <p:spPr>
          <a:xfrm>
            <a:off x="6401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7105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7454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0"/>
          <p:cNvSpPr/>
          <p:nvPr/>
        </p:nvSpPr>
        <p:spPr>
          <a:xfrm>
            <a:off x="5423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4"/>
          <p:cNvSpPr/>
          <p:nvPr/>
        </p:nvSpPr>
        <p:spPr>
          <a:xfrm>
            <a:off x="5102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5"/>
          <p:cNvSpPr/>
          <p:nvPr/>
        </p:nvSpPr>
        <p:spPr>
          <a:xfrm>
            <a:off x="7885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8"/>
          <p:cNvSpPr/>
          <p:nvPr/>
        </p:nvSpPr>
        <p:spPr>
          <a:xfrm>
            <a:off x="8278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7211606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4"/>
          <p:cNvSpPr/>
          <p:nvPr/>
        </p:nvSpPr>
        <p:spPr>
          <a:xfrm>
            <a:off x="9100923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</a:p>
        </p:txBody>
      </p:sp>
      <p:sp>
        <p:nvSpPr>
          <p:cNvPr id="132" name="object 32"/>
          <p:cNvSpPr/>
          <p:nvPr/>
        </p:nvSpPr>
        <p:spPr>
          <a:xfrm>
            <a:off x="4608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50"/>
          <p:cNvSpPr/>
          <p:nvPr/>
        </p:nvSpPr>
        <p:spPr>
          <a:xfrm>
            <a:off x="4758946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3"/>
          <p:cNvSpPr txBox="1"/>
          <p:nvPr/>
        </p:nvSpPr>
        <p:spPr>
          <a:xfrm>
            <a:off x="5736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6"/>
          <p:cNvSpPr/>
          <p:nvPr/>
        </p:nvSpPr>
        <p:spPr>
          <a:xfrm>
            <a:off x="4192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7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8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19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6824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3"/>
          <p:cNvSpPr/>
          <p:nvPr/>
        </p:nvSpPr>
        <p:spPr>
          <a:xfrm>
            <a:off x="7885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7885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5"/>
          <p:cNvSpPr/>
          <p:nvPr/>
        </p:nvSpPr>
        <p:spPr>
          <a:xfrm>
            <a:off x="7404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8"/>
          <p:cNvSpPr/>
          <p:nvPr/>
        </p:nvSpPr>
        <p:spPr>
          <a:xfrm>
            <a:off x="6081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9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4431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9172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8117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9525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248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6631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4942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4781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7"/>
          <p:cNvSpPr/>
          <p:nvPr/>
        </p:nvSpPr>
        <p:spPr>
          <a:xfrm>
            <a:off x="7615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7615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6763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1"/>
          <p:cNvSpPr/>
          <p:nvPr/>
        </p:nvSpPr>
        <p:spPr>
          <a:xfrm>
            <a:off x="8687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6883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8695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7055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8880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7696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4"/>
          <p:cNvSpPr/>
          <p:nvPr/>
        </p:nvSpPr>
        <p:spPr>
          <a:xfrm>
            <a:off x="6401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7105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7454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0"/>
          <p:cNvSpPr/>
          <p:nvPr/>
        </p:nvSpPr>
        <p:spPr>
          <a:xfrm>
            <a:off x="5423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4"/>
          <p:cNvSpPr/>
          <p:nvPr/>
        </p:nvSpPr>
        <p:spPr>
          <a:xfrm>
            <a:off x="5102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5"/>
          <p:cNvSpPr/>
          <p:nvPr/>
        </p:nvSpPr>
        <p:spPr>
          <a:xfrm>
            <a:off x="7885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8"/>
          <p:cNvSpPr/>
          <p:nvPr/>
        </p:nvSpPr>
        <p:spPr>
          <a:xfrm>
            <a:off x="8278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7211606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4"/>
          <p:cNvSpPr/>
          <p:nvPr/>
        </p:nvSpPr>
        <p:spPr>
          <a:xfrm>
            <a:off x="9100923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2"/>
          <p:cNvSpPr/>
          <p:nvPr/>
        </p:nvSpPr>
        <p:spPr>
          <a:xfrm>
            <a:off x="4608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0"/>
          <p:cNvSpPr/>
          <p:nvPr/>
        </p:nvSpPr>
        <p:spPr>
          <a:xfrm>
            <a:off x="4758946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</a:p>
        </p:txBody>
      </p:sp>
      <p:sp>
        <p:nvSpPr>
          <p:cNvPr id="133" name="object 3"/>
          <p:cNvSpPr txBox="1"/>
          <p:nvPr/>
        </p:nvSpPr>
        <p:spPr>
          <a:xfrm>
            <a:off x="5736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object 3"/>
          <p:cNvSpPr txBox="1"/>
          <p:nvPr/>
        </p:nvSpPr>
        <p:spPr>
          <a:xfrm>
            <a:off x="5736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  <p:sp>
        <p:nvSpPr>
          <p:cNvPr id="91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16"/>
          <p:cNvSpPr/>
          <p:nvPr/>
        </p:nvSpPr>
        <p:spPr>
          <a:xfrm>
            <a:off x="4192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7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8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9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21"/>
          <p:cNvSpPr/>
          <p:nvPr/>
        </p:nvSpPr>
        <p:spPr>
          <a:xfrm>
            <a:off x="6824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3"/>
          <p:cNvSpPr/>
          <p:nvPr/>
        </p:nvSpPr>
        <p:spPr>
          <a:xfrm>
            <a:off x="7885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4"/>
          <p:cNvSpPr/>
          <p:nvPr/>
        </p:nvSpPr>
        <p:spPr>
          <a:xfrm>
            <a:off x="7885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5"/>
          <p:cNvSpPr/>
          <p:nvPr/>
        </p:nvSpPr>
        <p:spPr>
          <a:xfrm>
            <a:off x="7404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8"/>
          <p:cNvSpPr/>
          <p:nvPr/>
        </p:nvSpPr>
        <p:spPr>
          <a:xfrm>
            <a:off x="6081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9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0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4431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9172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117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9525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6248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6631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4942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4781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7"/>
          <p:cNvSpPr/>
          <p:nvPr/>
        </p:nvSpPr>
        <p:spPr>
          <a:xfrm>
            <a:off x="7615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7615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0"/>
          <p:cNvSpPr/>
          <p:nvPr/>
        </p:nvSpPr>
        <p:spPr>
          <a:xfrm>
            <a:off x="6763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1"/>
          <p:cNvSpPr/>
          <p:nvPr/>
        </p:nvSpPr>
        <p:spPr>
          <a:xfrm>
            <a:off x="8687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4"/>
          <p:cNvSpPr/>
          <p:nvPr/>
        </p:nvSpPr>
        <p:spPr>
          <a:xfrm>
            <a:off x="6883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6"/>
          <p:cNvSpPr/>
          <p:nvPr/>
        </p:nvSpPr>
        <p:spPr>
          <a:xfrm>
            <a:off x="8695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8"/>
          <p:cNvSpPr/>
          <p:nvPr/>
        </p:nvSpPr>
        <p:spPr>
          <a:xfrm>
            <a:off x="7055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0"/>
          <p:cNvSpPr/>
          <p:nvPr/>
        </p:nvSpPr>
        <p:spPr>
          <a:xfrm>
            <a:off x="8880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2"/>
          <p:cNvSpPr/>
          <p:nvPr/>
        </p:nvSpPr>
        <p:spPr>
          <a:xfrm>
            <a:off x="7696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4"/>
          <p:cNvSpPr/>
          <p:nvPr/>
        </p:nvSpPr>
        <p:spPr>
          <a:xfrm>
            <a:off x="6401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6"/>
          <p:cNvSpPr/>
          <p:nvPr/>
        </p:nvSpPr>
        <p:spPr>
          <a:xfrm>
            <a:off x="7105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8"/>
          <p:cNvSpPr/>
          <p:nvPr/>
        </p:nvSpPr>
        <p:spPr>
          <a:xfrm>
            <a:off x="7454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70"/>
          <p:cNvSpPr/>
          <p:nvPr/>
        </p:nvSpPr>
        <p:spPr>
          <a:xfrm>
            <a:off x="5423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4"/>
          <p:cNvSpPr/>
          <p:nvPr/>
        </p:nvSpPr>
        <p:spPr>
          <a:xfrm>
            <a:off x="5102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5"/>
          <p:cNvSpPr/>
          <p:nvPr/>
        </p:nvSpPr>
        <p:spPr>
          <a:xfrm>
            <a:off x="7885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8"/>
          <p:cNvSpPr/>
          <p:nvPr/>
        </p:nvSpPr>
        <p:spPr>
          <a:xfrm>
            <a:off x="8278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4"/>
          <p:cNvSpPr/>
          <p:nvPr/>
        </p:nvSpPr>
        <p:spPr>
          <a:xfrm>
            <a:off x="7211606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9100923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2"/>
          <p:cNvSpPr/>
          <p:nvPr/>
        </p:nvSpPr>
        <p:spPr>
          <a:xfrm>
            <a:off x="4608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0"/>
          <p:cNvSpPr/>
          <p:nvPr/>
        </p:nvSpPr>
        <p:spPr>
          <a:xfrm>
            <a:off x="4758946" y="5803469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Look at them in the normal space</a:t>
            </a:r>
          </a:p>
        </p:txBody>
      </p:sp>
    </p:spTree>
  </p:cSld>
  <p:clrMapOvr>
    <a:masterClrMapping/>
  </p:clrMapOvr>
  <p:transition spd="med"/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20"/>
          <p:cNvSpPr/>
          <p:nvPr/>
        </p:nvSpPr>
        <p:spPr>
          <a:xfrm>
            <a:off x="4192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7797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7377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6693749" y="58510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404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081260" y="5868393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631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431043" y="55058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117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248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6631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631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942124" y="5441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781759" y="55362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7979715" y="52690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5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30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3"/>
                </a:lnTo>
                <a:lnTo>
                  <a:pt x="106135" y="337179"/>
                </a:lnTo>
                <a:lnTo>
                  <a:pt x="119078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09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1" y="327777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3"/>
                </a:lnTo>
                <a:lnTo>
                  <a:pt x="86318" y="19582"/>
                </a:lnTo>
                <a:lnTo>
                  <a:pt x="74778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6" y="54016"/>
                </a:lnTo>
                <a:lnTo>
                  <a:pt x="35419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658986" y="55362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763383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8687764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883085" y="52690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055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30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8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856967" y="536389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4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45482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609618" y="547628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423218" y="50937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102489" y="54427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8228400" y="54112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9143470" y="533211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8695053" y="47002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1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1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2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59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8873391" y="505314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9478470" y="4563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373020" y="536256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4303256" y="6287291"/>
            <a:ext cx="14476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0.7 Inco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368916" y="6287291"/>
            <a:ext cx="22292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+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140945" y="6287291"/>
            <a:ext cx="45700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0.3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595736" y="6287291"/>
            <a:ext cx="54260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751773" y="5479167"/>
            <a:ext cx="347472" cy="3474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9084302" y="4902867"/>
            <a:ext cx="347472" cy="3474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Look at them in the normal space</a:t>
            </a:r>
          </a:p>
        </p:txBody>
      </p:sp>
      <p:sp>
        <p:nvSpPr>
          <p:cNvPr id="92" name="object 70"/>
          <p:cNvSpPr/>
          <p:nvPr/>
        </p:nvSpPr>
        <p:spPr>
          <a:xfrm>
            <a:off x="3907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93" name="Straight Arrow Connector 92"/>
          <p:cNvCxnSpPr/>
          <p:nvPr/>
        </p:nvCxnSpPr>
        <p:spPr>
          <a:xfrm flipV="1">
            <a:off x="3922535" y="2438400"/>
            <a:ext cx="4428457" cy="3494808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99" name="object 72"/>
          <p:cNvSpPr/>
          <p:nvPr/>
        </p:nvSpPr>
        <p:spPr>
          <a:xfrm>
            <a:off x="4751774" y="54791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7178790" y="5422283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9084302" y="4902868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3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4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0" name="object 5"/>
          <p:cNvSpPr txBox="1"/>
          <p:nvPr/>
        </p:nvSpPr>
        <p:spPr>
          <a:xfrm>
            <a:off x="3625916" y="369651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Look at them in the normal space</a:t>
            </a:r>
          </a:p>
        </p:txBody>
      </p:sp>
    </p:spTree>
  </p:cSld>
  <p:clrMapOvr>
    <a:masterClrMapping/>
  </p:clrMapOvr>
  <p:transition spd="med"/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2128888" y="1905000"/>
            <a:ext cx="7853313" cy="8463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265"/>
              </a:lnSpc>
            </a:pPr>
            <a:r>
              <a:rPr sz="3200" b="1" dirty="0">
                <a:solidFill>
                  <a:srgbClr val="7F7E7E"/>
                </a:solidFill>
                <a:cs typeface="Calibri"/>
              </a:rPr>
              <a:t>fr</a:t>
            </a:r>
            <a:r>
              <a:rPr sz="3200" b="1" spc="-4" dirty="0">
                <a:solidFill>
                  <a:srgbClr val="7F7E7E"/>
                </a:solidFill>
                <a:cs typeface="Calibri"/>
              </a:rPr>
              <a:t>o</a:t>
            </a:r>
            <a:r>
              <a:rPr sz="3200" b="1" dirty="0">
                <a:solidFill>
                  <a:srgbClr val="7F7E7E"/>
                </a:solidFill>
                <a:cs typeface="Calibri"/>
              </a:rPr>
              <a:t>m </a:t>
            </a:r>
            <a:r>
              <a:rPr sz="3200" dirty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3200" b="1" dirty="0">
                <a:solidFill>
                  <a:srgbClr val="7F7E7E"/>
                </a:solidFill>
                <a:cs typeface="Calibri"/>
              </a:rPr>
              <a:t>impo</a:t>
            </a:r>
            <a:r>
              <a:rPr sz="3200" b="1" spc="4" dirty="0">
                <a:solidFill>
                  <a:srgbClr val="7F7E7E"/>
                </a:solidFill>
                <a:cs typeface="Calibri"/>
              </a:rPr>
              <a:t>r</a:t>
            </a:r>
            <a:r>
              <a:rPr sz="3200" b="1" dirty="0">
                <a:solidFill>
                  <a:srgbClr val="7F7E7E"/>
                </a:solidFill>
                <a:cs typeface="Calibri"/>
              </a:rPr>
              <a:t>t </a:t>
            </a:r>
            <a:r>
              <a:rPr sz="3200" dirty="0">
                <a:solidFill>
                  <a:srgbClr val="9BBA58"/>
                </a:solidFill>
                <a:cs typeface="Calibri"/>
              </a:rPr>
              <a:t>SpectralClustering</a:t>
            </a:r>
            <a:endParaRPr sz="3200" dirty="0"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128887" y="3008777"/>
            <a:ext cx="7853313" cy="36715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r>
              <a:rPr sz="3200" baseline="2100" dirty="0" err="1">
                <a:solidFill>
                  <a:srgbClr val="7F7E7E"/>
                </a:solidFill>
                <a:cs typeface="Calibri"/>
              </a:rPr>
              <a:t>SpectralClustering</a:t>
            </a:r>
            <a:r>
              <a:rPr sz="3200" baseline="2100" dirty="0">
                <a:solidFill>
                  <a:srgbClr val="7F7E7E"/>
                </a:solidFill>
                <a:cs typeface="Calibri"/>
              </a:rPr>
              <a:t>( </a:t>
            </a:r>
            <a:r>
              <a:rPr sz="3200" baseline="2100" dirty="0" err="1">
                <a:solidFill>
                  <a:srgbClr val="7F7E7E"/>
                </a:solidFill>
                <a:cs typeface="Calibri"/>
              </a:rPr>
              <a:t>n_clusters</a:t>
            </a:r>
            <a:r>
              <a:rPr sz="3200" baseline="2100" dirty="0">
                <a:solidFill>
                  <a:srgbClr val="7F7E7E"/>
                </a:solidFill>
                <a:cs typeface="Calibri"/>
              </a:rPr>
              <a:t>=8,</a:t>
            </a:r>
            <a:r>
              <a:rPr lang="en-US" sz="3200" baseline="210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2100" dirty="0" err="1">
                <a:solidFill>
                  <a:srgbClr val="7F7E7E"/>
                </a:solidFill>
                <a:cs typeface="Calibri"/>
              </a:rPr>
              <a:t>n_init</a:t>
            </a:r>
            <a:r>
              <a:rPr lang="en-US" sz="3200" baseline="2100" dirty="0">
                <a:solidFill>
                  <a:srgbClr val="7F7E7E"/>
                </a:solidFill>
                <a:cs typeface="Calibri"/>
              </a:rPr>
              <a:t>=10 )</a:t>
            </a:r>
            <a:endParaRPr lang="en-US" sz="32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754912" y="2687303"/>
            <a:ext cx="1522426" cy="355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endParaRPr sz="2600" dirty="0">
              <a:latin typeface="Calibri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52C42F-98B6-BD4D-AF04-68B03986A43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perties, Advantages, Disadvantag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944CE9-F7B1-6346-A31E-9397BCC33D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384456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409143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638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667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136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3166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635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4665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134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6163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32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7662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9131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9161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638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667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0.1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3136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3166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635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4665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134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6163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32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7662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6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9131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9161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1638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667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136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3166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45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635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4665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134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6163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4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632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7662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76" name="Rectangle 75"/>
          <p:cNvSpPr/>
          <p:nvPr/>
        </p:nvSpPr>
        <p:spPr>
          <a:xfrm>
            <a:off x="9131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9161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1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1638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667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3136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3166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53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4635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4665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6s</a:t>
            </a:r>
          </a:p>
        </p:txBody>
      </p:sp>
      <p:sp>
        <p:nvSpPr>
          <p:cNvPr id="99" name="Rectangle 98"/>
          <p:cNvSpPr/>
          <p:nvPr/>
        </p:nvSpPr>
        <p:spPr>
          <a:xfrm>
            <a:off x="6134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6163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8s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632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7662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95" name="Rectangle 94"/>
          <p:cNvSpPr/>
          <p:nvPr/>
        </p:nvSpPr>
        <p:spPr>
          <a:xfrm>
            <a:off x="9131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9161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667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166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665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163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7662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Ward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161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DBSCAN</a:t>
            </a:r>
          </a:p>
        </p:txBody>
      </p:sp>
      <p:grpSp>
        <p:nvGrpSpPr>
          <p:cNvPr id="118" name="Group 117"/>
          <p:cNvGrpSpPr/>
          <p:nvPr/>
        </p:nvGrpSpPr>
        <p:grpSpPr>
          <a:xfrm>
            <a:off x="3276601" y="457201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736254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6235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7730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9242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739720" y="2061777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3244850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1768296" y="3642927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635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43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48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63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645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49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3290781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4798977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6302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7829659" y="3642927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9408678" y="3642927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1733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4741828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6236494" y="2041526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7750970" y="2041526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9238980" y="2041526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</p:spTree>
  </p:cSld>
  <p:clrMapOvr>
    <a:masterClrMapping/>
  </p:clrMapOvr>
  <p:transition spd="med"/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67927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Method nam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86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Paramet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262954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Scalabilit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25023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50745" y="-5552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Geometry (metric used)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1667927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oup 81"/>
          <p:cNvGrpSpPr/>
          <p:nvPr/>
        </p:nvGrpSpPr>
        <p:grpSpPr>
          <a:xfrm>
            <a:off x="1667927" y="389791"/>
            <a:ext cx="8679631" cy="369332"/>
            <a:chOff x="143926" y="389791"/>
            <a:chExt cx="8679631" cy="369332"/>
          </a:xfrm>
        </p:grpSpPr>
        <p:sp>
          <p:nvSpPr>
            <p:cNvPr id="14" name="TextBox 13"/>
            <p:cNvSpPr txBox="1"/>
            <p:nvPr/>
          </p:nvSpPr>
          <p:spPr>
            <a:xfrm>
              <a:off x="143926" y="389791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>
                  <a:solidFill>
                    <a:srgbClr val="6094C9"/>
                  </a:solidFill>
                </a:rPr>
                <a:t>K-means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462475" y="389791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umber of clusters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38953" y="389791"/>
              <a:ext cx="21140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Very large </a:t>
              </a:r>
              <a:r>
                <a:rPr lang="en-US" sz="1200" i="1" dirty="0" err="1">
                  <a:solidFill>
                    <a:srgbClr val="7F7E7E"/>
                  </a:solidFill>
                </a:rPr>
                <a:t>n_sample</a:t>
              </a:r>
              <a:r>
                <a:rPr lang="en-US" sz="1200" dirty="0" err="1">
                  <a:solidFill>
                    <a:srgbClr val="7F7E7E"/>
                  </a:solidFill>
                </a:rPr>
                <a:t>s</a:t>
              </a:r>
              <a:r>
                <a:rPr lang="en-US" sz="1200" dirty="0">
                  <a:solidFill>
                    <a:srgbClr val="7F7E7E"/>
                  </a:solidFill>
                </a:rPr>
                <a:t> medium </a:t>
              </a:r>
              <a:r>
                <a:rPr lang="en-US" sz="1200" i="1" dirty="0" err="1">
                  <a:solidFill>
                    <a:srgbClr val="7F7E7E"/>
                  </a:solidFill>
                </a:rPr>
                <a:t>n_clusters</a:t>
              </a:r>
              <a:r>
                <a:rPr lang="en-US" sz="1200" dirty="0">
                  <a:solidFill>
                    <a:srgbClr val="7F7E7E"/>
                  </a:solidFill>
                </a:rPr>
                <a:t> with </a:t>
              </a:r>
              <a:r>
                <a:rPr lang="en-US" sz="1200" i="1" dirty="0" err="1">
                  <a:solidFill>
                    <a:srgbClr val="6094C9"/>
                  </a:solidFill>
                </a:rPr>
                <a:t>MiniBatch</a:t>
              </a:r>
              <a:r>
                <a:rPr lang="en-US" sz="1200" i="1" dirty="0">
                  <a:solidFill>
                    <a:srgbClr val="6094C9"/>
                  </a:solidFill>
                </a:rPr>
                <a:t> code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901022" y="389791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General purpose, even cluster size, flat geometry, not too many clusters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226745" y="389791"/>
              <a:ext cx="15968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points</a:t>
              </a: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1667927" y="858311"/>
            <a:ext cx="8679631" cy="369332"/>
            <a:chOff x="143926" y="1006045"/>
            <a:chExt cx="8679631" cy="369332"/>
          </a:xfrm>
        </p:grpSpPr>
        <p:sp>
          <p:nvSpPr>
            <p:cNvPr id="22" name="TextBox 21"/>
            <p:cNvSpPr txBox="1"/>
            <p:nvPr/>
          </p:nvSpPr>
          <p:spPr>
            <a:xfrm>
              <a:off x="143926" y="1006045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>
                  <a:solidFill>
                    <a:srgbClr val="6094C9"/>
                  </a:solidFill>
                </a:rPr>
                <a:t>Affinity propagation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462475" y="1006045"/>
              <a:ext cx="122846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amping, sample preferences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738953" y="1006045"/>
              <a:ext cx="21140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ot scalable with </a:t>
              </a:r>
              <a:r>
                <a:rPr lang="en-US" sz="1200" dirty="0" err="1">
                  <a:solidFill>
                    <a:srgbClr val="7F7E7E"/>
                  </a:solidFill>
                </a:rPr>
                <a:t>n_sample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901022" y="1006045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Many clusters, uneven cluster size, non-flat geometry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226745" y="1006045"/>
              <a:ext cx="15968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Graph distance (e.g. nearest-neighbor graph)</a:t>
              </a: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1667927" y="1326831"/>
            <a:ext cx="8679631" cy="369332"/>
            <a:chOff x="143926" y="1437633"/>
            <a:chExt cx="8679631" cy="369332"/>
          </a:xfrm>
        </p:grpSpPr>
        <p:sp>
          <p:nvSpPr>
            <p:cNvPr id="30" name="TextBox 29"/>
            <p:cNvSpPr txBox="1"/>
            <p:nvPr/>
          </p:nvSpPr>
          <p:spPr>
            <a:xfrm>
              <a:off x="143926" y="1437633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>
                  <a:solidFill>
                    <a:srgbClr val="6094C9"/>
                  </a:solidFill>
                </a:rPr>
                <a:t>Mean-shift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462475" y="1437633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Bandwidth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738953" y="1437633"/>
              <a:ext cx="21140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ot scalable with </a:t>
              </a:r>
              <a:r>
                <a:rPr lang="en-US" sz="1200" dirty="0" err="1">
                  <a:solidFill>
                    <a:srgbClr val="7F7E7E"/>
                  </a:solidFill>
                </a:rPr>
                <a:t>n_sample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901022" y="1437633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Many clusters, uneven cluster size, non-flat geometry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226745" y="1437633"/>
              <a:ext cx="15968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points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1667927" y="1795351"/>
            <a:ext cx="8679631" cy="369332"/>
            <a:chOff x="143926" y="1869221"/>
            <a:chExt cx="8679631" cy="369332"/>
          </a:xfrm>
        </p:grpSpPr>
        <p:sp>
          <p:nvSpPr>
            <p:cNvPr id="37" name="TextBox 36"/>
            <p:cNvSpPr txBox="1"/>
            <p:nvPr/>
          </p:nvSpPr>
          <p:spPr>
            <a:xfrm>
              <a:off x="143926" y="1869221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>
                  <a:solidFill>
                    <a:srgbClr val="6094C9"/>
                  </a:solidFill>
                </a:rPr>
                <a:t>Spectral clustering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462475" y="1869221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umber of clusters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738953" y="1869221"/>
              <a:ext cx="21140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Medium </a:t>
              </a:r>
              <a:r>
                <a:rPr lang="en-US" sz="1200" i="1" dirty="0" err="1">
                  <a:solidFill>
                    <a:srgbClr val="7F7E7E"/>
                  </a:solidFill>
                </a:rPr>
                <a:t>n_samples</a:t>
              </a:r>
              <a:r>
                <a:rPr lang="en-US" sz="1200" dirty="0">
                  <a:solidFill>
                    <a:srgbClr val="7F7E7E"/>
                  </a:solidFill>
                </a:rPr>
                <a:t>, small </a:t>
              </a:r>
              <a:r>
                <a:rPr lang="en-US" sz="1200" i="1" dirty="0" err="1">
                  <a:solidFill>
                    <a:srgbClr val="7F7E7E"/>
                  </a:solidFill>
                </a:rPr>
                <a:t>n_cluster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901022" y="1869221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Few clusters, even cluster size, non-flat geometry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226745" y="1869221"/>
              <a:ext cx="15968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Graph distance (e.g. nearest-neighbor graph)</a:t>
              </a:r>
            </a:p>
          </p:txBody>
        </p:sp>
      </p:grpSp>
      <p:cxnSp>
        <p:nvCxnSpPr>
          <p:cNvPr id="56" name="Straight Connector 55"/>
          <p:cNvCxnSpPr/>
          <p:nvPr/>
        </p:nvCxnSpPr>
        <p:spPr>
          <a:xfrm>
            <a:off x="1667927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1667927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1667927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1667927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Group 80"/>
          <p:cNvGrpSpPr/>
          <p:nvPr/>
        </p:nvGrpSpPr>
        <p:grpSpPr>
          <a:xfrm>
            <a:off x="1667927" y="2263871"/>
            <a:ext cx="8679631" cy="369332"/>
            <a:chOff x="143926" y="2300809"/>
            <a:chExt cx="8679631" cy="369332"/>
          </a:xfrm>
        </p:grpSpPr>
        <p:sp>
          <p:nvSpPr>
            <p:cNvPr id="61" name="TextBox 60"/>
            <p:cNvSpPr txBox="1"/>
            <p:nvPr/>
          </p:nvSpPr>
          <p:spPr>
            <a:xfrm>
              <a:off x="143926" y="2300809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>
                  <a:solidFill>
                    <a:srgbClr val="6094C9"/>
                  </a:solidFill>
                </a:rPr>
                <a:t>Hierarchical clustering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462475" y="2300809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umber of clusters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2738953" y="2300809"/>
              <a:ext cx="21140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Large </a:t>
              </a:r>
              <a:r>
                <a:rPr lang="en-US" sz="1200" i="1" dirty="0" err="1">
                  <a:solidFill>
                    <a:srgbClr val="7F7E7E"/>
                  </a:solidFill>
                </a:rPr>
                <a:t>n_samples</a:t>
              </a:r>
              <a:r>
                <a:rPr lang="en-US" sz="1200" dirty="0">
                  <a:solidFill>
                    <a:srgbClr val="7F7E7E"/>
                  </a:solidFill>
                </a:rPr>
                <a:t> and </a:t>
              </a:r>
              <a:r>
                <a:rPr lang="en-US" sz="1200" i="1" dirty="0" err="1">
                  <a:solidFill>
                    <a:srgbClr val="7F7E7E"/>
                  </a:solidFill>
                </a:rPr>
                <a:t>n_cluster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901022" y="2300809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Many clusters, possibly connectivity constraints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7226745" y="2300809"/>
              <a:ext cx="15968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points</a:t>
              </a:r>
            </a:p>
          </p:txBody>
        </p:sp>
      </p:grpSp>
      <p:cxnSp>
        <p:nvCxnSpPr>
          <p:cNvPr id="73" name="Straight Connector 72"/>
          <p:cNvCxnSpPr/>
          <p:nvPr/>
        </p:nvCxnSpPr>
        <p:spPr>
          <a:xfrm>
            <a:off x="1667927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79"/>
          <p:cNvGrpSpPr/>
          <p:nvPr/>
        </p:nvGrpSpPr>
        <p:grpSpPr>
          <a:xfrm>
            <a:off x="1667927" y="2732396"/>
            <a:ext cx="8679631" cy="369332"/>
            <a:chOff x="143926" y="2732396"/>
            <a:chExt cx="8679631" cy="369332"/>
          </a:xfrm>
        </p:grpSpPr>
        <p:sp>
          <p:nvSpPr>
            <p:cNvPr id="75" name="TextBox 74"/>
            <p:cNvSpPr txBox="1"/>
            <p:nvPr/>
          </p:nvSpPr>
          <p:spPr>
            <a:xfrm>
              <a:off x="143926" y="2732396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>
                  <a:solidFill>
                    <a:srgbClr val="6094C9"/>
                  </a:solidFill>
                </a:rPr>
                <a:t>DBSCAN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1462475" y="2732396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eighborhood size 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2738953" y="2732396"/>
              <a:ext cx="21140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Very large </a:t>
              </a:r>
              <a:r>
                <a:rPr lang="en-US" sz="1200" i="1" dirty="0" err="1">
                  <a:solidFill>
                    <a:srgbClr val="7F7E7E"/>
                  </a:solidFill>
                </a:rPr>
                <a:t>n_samples</a:t>
              </a:r>
              <a:r>
                <a:rPr lang="en-US" sz="1200" dirty="0">
                  <a:solidFill>
                    <a:srgbClr val="7F7E7E"/>
                  </a:solidFill>
                </a:rPr>
                <a:t>, medium </a:t>
              </a:r>
              <a:r>
                <a:rPr lang="en-US" sz="1200" i="1" dirty="0" err="1">
                  <a:solidFill>
                    <a:srgbClr val="7F7E7E"/>
                  </a:solidFill>
                </a:rPr>
                <a:t>n_cluster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4901022" y="2732396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on-flat geometry, uneven cluster sizes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7226745" y="2732396"/>
              <a:ext cx="15968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nearest points</a:t>
              </a:r>
            </a:p>
          </p:txBody>
        </p:sp>
      </p:grpSp>
    </p:spTree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69224113"/>
      </p:ext>
    </p:extLst>
  </p:cSld>
  <p:clrMapOvr>
    <a:masterClrMapping/>
  </p:clrMapOvr>
  <p:transition spd="med"/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67927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Method nam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86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Paramet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262954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Scalabilit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25023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50745" y="-5552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Geometry (metric used)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667927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667927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K-mean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86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62954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</a:t>
            </a:r>
            <a:r>
              <a:rPr lang="en-US" sz="1200" dirty="0" err="1">
                <a:solidFill>
                  <a:srgbClr val="7F7E7E"/>
                </a:solidFill>
              </a:rPr>
              <a:t>s</a:t>
            </a:r>
            <a:r>
              <a:rPr lang="en-US" sz="1200" dirty="0">
                <a:solidFill>
                  <a:srgbClr val="7F7E7E"/>
                </a:solidFill>
              </a:rPr>
              <a:t>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r>
              <a:rPr lang="en-US" sz="1200" dirty="0">
                <a:solidFill>
                  <a:srgbClr val="7F7E7E"/>
                </a:solidFill>
              </a:rPr>
              <a:t> with </a:t>
            </a:r>
            <a:r>
              <a:rPr lang="en-US" sz="1200" i="1" dirty="0" err="1">
                <a:solidFill>
                  <a:srgbClr val="4E81BC"/>
                </a:solidFill>
              </a:rPr>
              <a:t>MiniBatch</a:t>
            </a:r>
            <a:r>
              <a:rPr lang="en-US" sz="1200" i="1" dirty="0">
                <a:solidFill>
                  <a:srgbClr val="4E81BC"/>
                </a:solidFill>
              </a:rPr>
              <a:t> cod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425023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eneral purpose, even cluster size, flat geometry, not too many cluster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750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667927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Affinity propaga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986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amping, sample preferenc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262954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25023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750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667927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Mean-shif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86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Bandwidth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262954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25023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750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667927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Spectral clustering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986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262954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edium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small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425023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Few clusters, even cluster size, non-flat geometr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750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1667927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667927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1667927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1667927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667927" y="226387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Hierarchical clustering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986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262954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and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425023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possibly connectivity constraint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750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1667927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667927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DBSCAN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986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eighborhood size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262954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425023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n-flat geometry, uneven cluster size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750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nearest points</a:t>
            </a:r>
          </a:p>
        </p:txBody>
      </p:sp>
      <p:sp>
        <p:nvSpPr>
          <p:cNvPr id="51" name="object 5"/>
          <p:cNvSpPr txBox="1"/>
          <p:nvPr/>
        </p:nvSpPr>
        <p:spPr>
          <a:xfrm>
            <a:off x="1667927" y="3515233"/>
            <a:ext cx="8679631" cy="22350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>
                <a:solidFill>
                  <a:srgbClr val="4E81BC"/>
                </a:solidFill>
                <a:cs typeface="Calibri"/>
              </a:rPr>
              <a:t>K Means:</a:t>
            </a:r>
            <a:endParaRPr sz="4400" dirty="0">
              <a:cs typeface="Calibri"/>
            </a:endParaRPr>
          </a:p>
          <a:p>
            <a:pPr marL="12700">
              <a:lnSpc>
                <a:spcPts val="2770"/>
              </a:lnSpc>
            </a:pPr>
            <a:endParaRPr lang="en-US" sz="4400" baseline="1137" dirty="0">
              <a:solidFill>
                <a:srgbClr val="F69545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- </a:t>
            </a:r>
            <a:r>
              <a:rPr lang="en-US" sz="4400" baseline="1137" dirty="0" err="1">
                <a:solidFill>
                  <a:srgbClr val="F69545"/>
                </a:solidFill>
                <a:cs typeface="Calibri"/>
              </a:rPr>
              <a:t>MiniBatch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version is 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super fast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(big data)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Have to try k values (k not too big). </a:t>
            </a:r>
            <a:br>
              <a:rPr lang="en-US" sz="4400" baseline="1137" dirty="0">
                <a:solidFill>
                  <a:srgbClr val="7F7E7E"/>
                </a:solidFill>
                <a:cs typeface="Calibri"/>
              </a:rPr>
            </a:b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Tends to ﬁnd </a:t>
            </a:r>
            <a:r>
              <a:rPr lang="en-US" sz="4400" baseline="1137" dirty="0">
                <a:solidFill>
                  <a:srgbClr val="418FA2"/>
                </a:solidFill>
                <a:cs typeface="Calibri"/>
              </a:rPr>
              <a:t>even sized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Bad with non‐spherical cluster shapes. </a:t>
            </a:r>
          </a:p>
        </p:txBody>
      </p:sp>
    </p:spTree>
  </p:cSld>
  <p:clrMapOvr>
    <a:masterClrMapping/>
  </p:clrMapOvr>
  <p:transition spd="med"/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638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667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136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3166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635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4665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134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6163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32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7662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9131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9161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638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667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0.1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3136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3166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635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4665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134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6163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32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7662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6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9131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9161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1638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667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136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3166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45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635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4665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134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6163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4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632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7662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76" name="Rectangle 75"/>
          <p:cNvSpPr/>
          <p:nvPr/>
        </p:nvSpPr>
        <p:spPr>
          <a:xfrm>
            <a:off x="9131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9161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1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1638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667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3136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3166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53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4635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4665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6s</a:t>
            </a:r>
          </a:p>
        </p:txBody>
      </p:sp>
      <p:sp>
        <p:nvSpPr>
          <p:cNvPr id="99" name="Rectangle 98"/>
          <p:cNvSpPr/>
          <p:nvPr/>
        </p:nvSpPr>
        <p:spPr>
          <a:xfrm>
            <a:off x="6134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6163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8s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632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7662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95" name="Rectangle 94"/>
          <p:cNvSpPr/>
          <p:nvPr/>
        </p:nvSpPr>
        <p:spPr>
          <a:xfrm>
            <a:off x="9131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9161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667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166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665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163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7662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Ward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161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DBSCAN</a:t>
            </a:r>
          </a:p>
        </p:txBody>
      </p:sp>
      <p:grpSp>
        <p:nvGrpSpPr>
          <p:cNvPr id="118" name="Group 117"/>
          <p:cNvGrpSpPr/>
          <p:nvPr/>
        </p:nvGrpSpPr>
        <p:grpSpPr>
          <a:xfrm>
            <a:off x="3276601" y="457201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736254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6235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7730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9242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739720" y="2061777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3244850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1768296" y="3642927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635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43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48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63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645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49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3290781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4798977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6302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7829659" y="3642927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9408678" y="3642927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1733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4741828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6236494" y="2041526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7750970" y="2041526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9238980" y="2041526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1627149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346510174"/>
      </p:ext>
    </p:extLst>
  </p:cSld>
  <p:clrMapOvr>
    <a:masterClrMapping/>
  </p:clrMapOvr>
  <p:transition spd="med"/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67927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Method nam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86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Paramet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262954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Scalabilit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25023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50745" y="-5552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Geometry (metric used)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667927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67927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K-mean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86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262954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</a:t>
            </a:r>
            <a:r>
              <a:rPr lang="en-US" sz="1200" dirty="0" err="1">
                <a:solidFill>
                  <a:srgbClr val="7F7E7E"/>
                </a:solidFill>
              </a:rPr>
              <a:t>s</a:t>
            </a:r>
            <a:r>
              <a:rPr lang="en-US" sz="1200" dirty="0">
                <a:solidFill>
                  <a:srgbClr val="7F7E7E"/>
                </a:solidFill>
              </a:rPr>
              <a:t>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r>
              <a:rPr lang="en-US" sz="1200" dirty="0">
                <a:solidFill>
                  <a:srgbClr val="7F7E7E"/>
                </a:solidFill>
              </a:rPr>
              <a:t> with </a:t>
            </a:r>
            <a:r>
              <a:rPr lang="en-US" sz="1200" i="1" dirty="0" err="1">
                <a:solidFill>
                  <a:srgbClr val="4E81BC"/>
                </a:solidFill>
              </a:rPr>
              <a:t>MiniBatch</a:t>
            </a:r>
            <a:r>
              <a:rPr lang="en-US" sz="1200" i="1" dirty="0">
                <a:solidFill>
                  <a:srgbClr val="4E81BC"/>
                </a:solidFill>
              </a:rPr>
              <a:t> cod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425023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eneral purpose, even cluster size, flat geometry, not too many cluster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750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667927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Affinity propaga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86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amping, sample preferenc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2954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425023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750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667927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Mean-shif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986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Bandwidth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262954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425023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750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667927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Spectral clustering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986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262954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edium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small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425023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Few clusters, even cluster size, non-flat geometry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750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667927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667927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667927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667927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667927" y="226387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Hierarchical clustering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986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262954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and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25023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possibly connectivity constraint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750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667927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667927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DBSCA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986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eighborhood size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262954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25023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n-flat geometry, uneven cluster size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8750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nearest points</a:t>
            </a:r>
          </a:p>
        </p:txBody>
      </p:sp>
      <p:sp>
        <p:nvSpPr>
          <p:cNvPr id="45" name="object 5"/>
          <p:cNvSpPr txBox="1"/>
          <p:nvPr/>
        </p:nvSpPr>
        <p:spPr>
          <a:xfrm>
            <a:off x="1667927" y="3515233"/>
            <a:ext cx="8679631" cy="305532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>
                <a:solidFill>
                  <a:srgbClr val="4E81BC"/>
                </a:solidFill>
                <a:cs typeface="Calibri"/>
              </a:rPr>
              <a:t>Hierarchical Clustering:</a:t>
            </a:r>
          </a:p>
          <a:p>
            <a:pPr marL="12700" marR="41909">
              <a:lnSpc>
                <a:spcPts val="3454"/>
              </a:lnSpc>
              <a:spcBef>
                <a:spcPts val="172"/>
              </a:spcBef>
            </a:pPr>
            <a:endParaRPr lang="en-US" sz="4400" baseline="2560" dirty="0">
              <a:solidFill>
                <a:srgbClr val="4E81BC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You get a full </a:t>
            </a:r>
            <a:r>
              <a:rPr lang="en-US" sz="4400" baseline="1137" dirty="0">
                <a:solidFill>
                  <a:schemeClr val="accent4"/>
                </a:solidFill>
                <a:cs typeface="Calibri"/>
              </a:rPr>
              <a:t>hierarchy tree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 Useful for some problem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Have to try k value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Finds </a:t>
            </a:r>
            <a:r>
              <a:rPr lang="en-US" sz="4400" baseline="1137" dirty="0">
                <a:solidFill>
                  <a:srgbClr val="AAC56C"/>
                </a:solidFill>
                <a:cs typeface="Calibri"/>
              </a:rPr>
              <a:t>uneven cluster sizes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(one is big, some are tiny, etc.).</a:t>
            </a:r>
            <a:r>
              <a:rPr lang="en-US" sz="440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Due to the “the chains get </a:t>
            </a:r>
            <a:r>
              <a:rPr lang="en-US" sz="4400" baseline="1137" dirty="0" err="1">
                <a:solidFill>
                  <a:srgbClr val="7F7E7E"/>
                </a:solidFill>
                <a:cs typeface="Calibri"/>
              </a:rPr>
              <a:t>chainier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 eﬀect.”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</a:t>
            </a:r>
            <a:r>
              <a:rPr lang="en-US" sz="440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A lot of </a:t>
            </a:r>
            <a:r>
              <a:rPr lang="en-US" sz="4400" baseline="1137" dirty="0">
                <a:solidFill>
                  <a:srgbClr val="FAA757"/>
                </a:solidFill>
                <a:cs typeface="Calibri"/>
              </a:rPr>
              <a:t>distance metric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 and linkage </a:t>
            </a:r>
            <a:r>
              <a:rPr lang="en-US" sz="4400" baseline="1137" dirty="0">
                <a:solidFill>
                  <a:srgbClr val="FAA757"/>
                </a:solidFill>
                <a:cs typeface="Calibri"/>
              </a:rPr>
              <a:t>options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 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Slow: O(n^2).</a:t>
            </a:r>
          </a:p>
        </p:txBody>
      </p:sp>
    </p:spTree>
  </p:cSld>
  <p:clrMapOvr>
    <a:masterClrMapping/>
  </p:clrMapOvr>
  <p:transition spd="med"/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638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667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136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3166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635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4665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134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6163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32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7662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9131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9161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638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667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0.1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3136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3166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635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4665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134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6163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32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7662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6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9131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9161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1638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667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136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3166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45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635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4665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134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6163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4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632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7662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76" name="Rectangle 75"/>
          <p:cNvSpPr/>
          <p:nvPr/>
        </p:nvSpPr>
        <p:spPr>
          <a:xfrm>
            <a:off x="9131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9161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1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1638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667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3136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3166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53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4635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4665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6s</a:t>
            </a:r>
          </a:p>
        </p:txBody>
      </p:sp>
      <p:sp>
        <p:nvSpPr>
          <p:cNvPr id="99" name="Rectangle 98"/>
          <p:cNvSpPr/>
          <p:nvPr/>
        </p:nvSpPr>
        <p:spPr>
          <a:xfrm>
            <a:off x="6134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6163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8s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632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7662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95" name="Rectangle 94"/>
          <p:cNvSpPr/>
          <p:nvPr/>
        </p:nvSpPr>
        <p:spPr>
          <a:xfrm>
            <a:off x="9131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9161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667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166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665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163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7662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Ward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161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DBSCAN</a:t>
            </a:r>
          </a:p>
        </p:txBody>
      </p:sp>
      <p:grpSp>
        <p:nvGrpSpPr>
          <p:cNvPr id="118" name="Group 117"/>
          <p:cNvGrpSpPr/>
          <p:nvPr/>
        </p:nvGrpSpPr>
        <p:grpSpPr>
          <a:xfrm>
            <a:off x="3276601" y="457201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736254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6235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7730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9242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739720" y="2061777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3244850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1768296" y="3642927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635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43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48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63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645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49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3290781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4798977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6302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7829659" y="3642927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9408678" y="3642927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1733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4741828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6236494" y="2041526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7750970" y="2041526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9238980" y="2041526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7605633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73151277"/>
      </p:ext>
    </p:extLst>
  </p:cSld>
  <p:clrMapOvr>
    <a:masterClrMapping/>
  </p:clrMapOvr>
  <p:transition spd="med"/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67927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Method nam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86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Paramet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262954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Scalabilit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25023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50745" y="-5552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Geometry (metric used)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667927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67927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K-mean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86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262954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</a:t>
            </a:r>
            <a:r>
              <a:rPr lang="en-US" sz="1200" dirty="0" err="1">
                <a:solidFill>
                  <a:srgbClr val="7F7E7E"/>
                </a:solidFill>
              </a:rPr>
              <a:t>s</a:t>
            </a:r>
            <a:r>
              <a:rPr lang="en-US" sz="1200" dirty="0">
                <a:solidFill>
                  <a:srgbClr val="7F7E7E"/>
                </a:solidFill>
              </a:rPr>
              <a:t>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r>
              <a:rPr lang="en-US" sz="1200" dirty="0">
                <a:solidFill>
                  <a:srgbClr val="7F7E7E"/>
                </a:solidFill>
              </a:rPr>
              <a:t> with </a:t>
            </a:r>
            <a:r>
              <a:rPr lang="en-US" sz="1200" i="1" dirty="0" err="1">
                <a:solidFill>
                  <a:srgbClr val="4E81BC"/>
                </a:solidFill>
              </a:rPr>
              <a:t>MiniBatch</a:t>
            </a:r>
            <a:r>
              <a:rPr lang="en-US" sz="1200" i="1" dirty="0">
                <a:solidFill>
                  <a:srgbClr val="4E81BC"/>
                </a:solidFill>
              </a:rPr>
              <a:t> cod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425023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eneral purpose, even cluster size, flat geometry, not too many cluster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750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667927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Affinity propaga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86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amping, sample preferenc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2954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425023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750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667927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Mean-shif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986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Bandwidth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262954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425023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750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667927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Spectral clustering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986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262954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edium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small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425023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Few clusters, even cluster size, non-flat geometry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750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667927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667927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667927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667927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667927" y="226387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Hierarchical clustering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986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262954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and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25023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possibly connectivity constraint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750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667927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667927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DBSCA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986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eighborhood size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262954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25023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n-flat geometry, uneven cluster size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8750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nearest points</a:t>
            </a:r>
          </a:p>
        </p:txBody>
      </p:sp>
      <p:sp>
        <p:nvSpPr>
          <p:cNvPr id="45" name="object 5"/>
          <p:cNvSpPr txBox="1"/>
          <p:nvPr/>
        </p:nvSpPr>
        <p:spPr>
          <a:xfrm>
            <a:off x="1667927" y="3515233"/>
            <a:ext cx="8679631" cy="26032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>
                <a:solidFill>
                  <a:srgbClr val="4E81BC"/>
                </a:solidFill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Density based, on the money with the right parameter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Have to try </a:t>
            </a:r>
            <a:r>
              <a:rPr lang="en-US" sz="44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 (and </a:t>
            </a:r>
            <a:r>
              <a:rPr lang="en-US" sz="4400" i="1" baseline="1137" dirty="0" err="1">
                <a:solidFill>
                  <a:srgbClr val="7F7E7E"/>
                </a:solidFill>
                <a:cs typeface="Calibri"/>
              </a:rPr>
              <a:t>num_clu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) values. 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Can ﬁnd </a:t>
            </a:r>
            <a:r>
              <a:rPr lang="en-US" sz="4400" baseline="1137" dirty="0">
                <a:solidFill>
                  <a:srgbClr val="AAC56C"/>
                </a:solidFill>
                <a:cs typeface="Calibri"/>
              </a:rPr>
              <a:t>uneven cluster size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Full 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distance metric options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Can handle tons of data and weird shape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Too small epsilon (too many clusters) is a bit shaky.</a:t>
            </a:r>
          </a:p>
        </p:txBody>
      </p:sp>
    </p:spTree>
  </p:cSld>
  <p:clrMapOvr>
    <a:masterClrMapping/>
  </p:clrMapOvr>
  <p:transition spd="med"/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638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667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136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3166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635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4665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134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6163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32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7662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9131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9161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638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667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0.1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3136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3166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635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4665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134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6163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32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7662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6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9131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9161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1638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667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136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3166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45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635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4665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134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6163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4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632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7662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76" name="Rectangle 75"/>
          <p:cNvSpPr/>
          <p:nvPr/>
        </p:nvSpPr>
        <p:spPr>
          <a:xfrm>
            <a:off x="9131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9161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1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1638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667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3136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3166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53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4635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4665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6s</a:t>
            </a:r>
          </a:p>
        </p:txBody>
      </p:sp>
      <p:sp>
        <p:nvSpPr>
          <p:cNvPr id="99" name="Rectangle 98"/>
          <p:cNvSpPr/>
          <p:nvPr/>
        </p:nvSpPr>
        <p:spPr>
          <a:xfrm>
            <a:off x="6134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6163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8s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632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7662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95" name="Rectangle 94"/>
          <p:cNvSpPr/>
          <p:nvPr/>
        </p:nvSpPr>
        <p:spPr>
          <a:xfrm>
            <a:off x="9131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9161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667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166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665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163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7662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Ward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161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DBSCAN</a:t>
            </a:r>
          </a:p>
        </p:txBody>
      </p:sp>
      <p:grpSp>
        <p:nvGrpSpPr>
          <p:cNvPr id="118" name="Group 117"/>
          <p:cNvGrpSpPr/>
          <p:nvPr/>
        </p:nvGrpSpPr>
        <p:grpSpPr>
          <a:xfrm>
            <a:off x="3276601" y="457201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736254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6235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7730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9242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739720" y="2061777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3244850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1768296" y="3642927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635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43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48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63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645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49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3290781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4798977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6302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7829659" y="3642927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9408678" y="3642927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1733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4741828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6236494" y="2041526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7750970" y="2041526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9238980" y="2041526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9102557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471445709"/>
      </p:ext>
    </p:extLst>
  </p:cSld>
  <p:clrMapOvr>
    <a:masterClrMapping/>
  </p:clrMapOvr>
  <p:transition spd="med"/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67927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Method nam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86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Paramet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262954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Scalabilit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25023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50745" y="-5552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Geometry (metric used)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667927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67927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K-mean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86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262954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</a:t>
            </a:r>
            <a:r>
              <a:rPr lang="en-US" sz="1200" dirty="0" err="1">
                <a:solidFill>
                  <a:srgbClr val="7F7E7E"/>
                </a:solidFill>
              </a:rPr>
              <a:t>s</a:t>
            </a:r>
            <a:r>
              <a:rPr lang="en-US" sz="1200" dirty="0">
                <a:solidFill>
                  <a:srgbClr val="7F7E7E"/>
                </a:solidFill>
              </a:rPr>
              <a:t>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r>
              <a:rPr lang="en-US" sz="1200" dirty="0">
                <a:solidFill>
                  <a:srgbClr val="7F7E7E"/>
                </a:solidFill>
              </a:rPr>
              <a:t> with </a:t>
            </a:r>
            <a:r>
              <a:rPr lang="en-US" sz="1200" i="1" dirty="0" err="1">
                <a:solidFill>
                  <a:srgbClr val="4E81BC"/>
                </a:solidFill>
              </a:rPr>
              <a:t>MiniBatch</a:t>
            </a:r>
            <a:r>
              <a:rPr lang="en-US" sz="1200" i="1" dirty="0">
                <a:solidFill>
                  <a:srgbClr val="4E81BC"/>
                </a:solidFill>
              </a:rPr>
              <a:t> cod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425023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eneral purpose, even cluster size, flat geometry, not too many cluster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750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667927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Affinity propaga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86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amping, sample preferenc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2954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425023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750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667927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Mean-shif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986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Bandwidth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262954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425023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750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667927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Spectral clustering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986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262954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edium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small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425023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Few clusters, even cluster size, non-flat geometry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750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667927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667927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667927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667927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667927" y="226387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Hierarchical clustering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986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262954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and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25023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possibly connectivity constraint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750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667927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667927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DBSCA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986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eighborhood size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262954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25023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n-flat geometry, uneven cluster size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8750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nearest points</a:t>
            </a:r>
          </a:p>
        </p:txBody>
      </p:sp>
      <p:sp>
        <p:nvSpPr>
          <p:cNvPr id="45" name="object 5"/>
          <p:cNvSpPr txBox="1"/>
          <p:nvPr/>
        </p:nvSpPr>
        <p:spPr>
          <a:xfrm>
            <a:off x="1667927" y="3515232"/>
            <a:ext cx="8679631" cy="259032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>
                <a:solidFill>
                  <a:srgbClr val="4E81BC"/>
                </a:solidFill>
                <a:cs typeface="Calibri"/>
              </a:rPr>
              <a:t>Mean‐shift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You 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DON’T have to guess k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or</a:t>
            </a:r>
            <a:r>
              <a:rPr lang="en-US" sz="440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other parameters. Fire &amp; forget. 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Can ﬁnd </a:t>
            </a:r>
            <a:r>
              <a:rPr lang="en-US" sz="4400" baseline="1137" dirty="0">
                <a:solidFill>
                  <a:srgbClr val="AAC56C"/>
                </a:solidFill>
                <a:cs typeface="Calibri"/>
              </a:rPr>
              <a:t>uneven cluster sizes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Slow with a lot of data, but lots of clusters no problem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- Doesn’t handle weird shapes well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030A0"/>
                </a:solidFill>
                <a:cs typeface="Calibri"/>
              </a:rPr>
              <a:t>Euclidean distance only.</a:t>
            </a:r>
          </a:p>
        </p:txBody>
      </p:sp>
    </p:spTree>
  </p:cSld>
  <p:clrMapOvr>
    <a:masterClrMapping/>
  </p:clrMapOvr>
  <p:transition spd="med"/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611753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638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667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136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3166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635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4665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134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6163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32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7662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9131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9161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638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667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0.1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3136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3166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635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4665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134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6163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32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7662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6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9131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9161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1638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667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136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3166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45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635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4665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134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6163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4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632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7662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76" name="Rectangle 75"/>
          <p:cNvSpPr/>
          <p:nvPr/>
        </p:nvSpPr>
        <p:spPr>
          <a:xfrm>
            <a:off x="9131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9161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1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1638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667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3136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3166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53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4635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4665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6s</a:t>
            </a:r>
          </a:p>
        </p:txBody>
      </p:sp>
      <p:sp>
        <p:nvSpPr>
          <p:cNvPr id="99" name="Rectangle 98"/>
          <p:cNvSpPr/>
          <p:nvPr/>
        </p:nvSpPr>
        <p:spPr>
          <a:xfrm>
            <a:off x="6134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6163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8s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632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7662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95" name="Rectangle 94"/>
          <p:cNvSpPr/>
          <p:nvPr/>
        </p:nvSpPr>
        <p:spPr>
          <a:xfrm>
            <a:off x="9131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9161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667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166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665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163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7662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Ward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161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DBSCAN</a:t>
            </a:r>
          </a:p>
        </p:txBody>
      </p:sp>
      <p:grpSp>
        <p:nvGrpSpPr>
          <p:cNvPr id="118" name="Group 117"/>
          <p:cNvGrpSpPr/>
          <p:nvPr/>
        </p:nvGrpSpPr>
        <p:grpSpPr>
          <a:xfrm>
            <a:off x="3276601" y="457201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736254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6235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7730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9242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739720" y="2061777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3244850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1768296" y="3642927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635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43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48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63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645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49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3290781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4798977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6302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7829659" y="3642927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9408678" y="3642927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1733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4741828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6236494" y="2041526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7750970" y="2041526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9238980" y="2041526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4608273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457846024"/>
      </p:ext>
    </p:extLst>
  </p:cSld>
  <p:clrMapOvr>
    <a:masterClrMapping/>
  </p:clrMapOvr>
  <p:transition spd="med"/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67927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Method nam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86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Paramet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262954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Scalabilit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25023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50745" y="-5552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>
                <a:solidFill>
                  <a:srgbClr val="7F7E7E"/>
                </a:solidFill>
              </a:rPr>
              <a:t>Geometry (metric used)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667927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67927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K-mean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86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262954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</a:t>
            </a:r>
            <a:r>
              <a:rPr lang="en-US" sz="1200" dirty="0" err="1">
                <a:solidFill>
                  <a:srgbClr val="7F7E7E"/>
                </a:solidFill>
              </a:rPr>
              <a:t>s</a:t>
            </a:r>
            <a:r>
              <a:rPr lang="en-US" sz="1200" dirty="0">
                <a:solidFill>
                  <a:srgbClr val="7F7E7E"/>
                </a:solidFill>
              </a:rPr>
              <a:t>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r>
              <a:rPr lang="en-US" sz="1200" dirty="0">
                <a:solidFill>
                  <a:srgbClr val="7F7E7E"/>
                </a:solidFill>
              </a:rPr>
              <a:t> with </a:t>
            </a:r>
            <a:r>
              <a:rPr lang="en-US" sz="1200" i="1" dirty="0" err="1">
                <a:solidFill>
                  <a:srgbClr val="4E81BC"/>
                </a:solidFill>
              </a:rPr>
              <a:t>MiniBatch</a:t>
            </a:r>
            <a:r>
              <a:rPr lang="en-US" sz="1200" i="1" dirty="0">
                <a:solidFill>
                  <a:srgbClr val="4E81BC"/>
                </a:solidFill>
              </a:rPr>
              <a:t> cod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425023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eneral purpose, even cluster size, flat geometry, not too many cluster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750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667927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Affinity propaga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86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amping, sample preferenc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2954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425023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750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667927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Mean-shif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986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Bandwidth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262954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t scalable with </a:t>
            </a:r>
            <a:r>
              <a:rPr lang="en-US" sz="1200" dirty="0" err="1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425023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uneven cluster size, non-flat geometry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750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667927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Spectral clustering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986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262954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edium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small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425023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Few clusters, even cluster size, non-flat geometry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750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667927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667927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667927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667927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667927" y="226387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Hierarchical clustering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986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cluster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262954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and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25023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Many clusters, possibly connectivity constraint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750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667927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667927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>
                <a:solidFill>
                  <a:srgbClr val="4E81BC"/>
                </a:solidFill>
              </a:rPr>
              <a:t>DBSCA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986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eighborhood size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262954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Very large </a:t>
            </a:r>
            <a:r>
              <a:rPr lang="en-US" sz="1200" i="1" dirty="0" err="1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, medium </a:t>
            </a:r>
            <a:r>
              <a:rPr lang="en-US" sz="1200" i="1" dirty="0" err="1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25023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on-flat geometry, uneven cluster size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8750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nearest points</a:t>
            </a:r>
          </a:p>
        </p:txBody>
      </p:sp>
      <p:sp>
        <p:nvSpPr>
          <p:cNvPr id="45" name="object 5"/>
          <p:cNvSpPr txBox="1"/>
          <p:nvPr/>
        </p:nvSpPr>
        <p:spPr>
          <a:xfrm>
            <a:off x="1653816" y="3261233"/>
            <a:ext cx="8679631" cy="302828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>
                <a:solidFill>
                  <a:srgbClr val="4E81BC"/>
                </a:solidFill>
                <a:cs typeface="Calibri"/>
              </a:rPr>
              <a:t>Spectral clustering:</a:t>
            </a:r>
          </a:p>
          <a:p>
            <a:pPr marL="12700" marR="3555855">
              <a:lnSpc>
                <a:spcPts val="3300"/>
              </a:lnSpc>
              <a:spcBef>
                <a:spcPts val="5"/>
              </a:spcBef>
            </a:pPr>
            <a:r>
              <a:rPr lang="en-US" sz="2800" dirty="0">
                <a:solidFill>
                  <a:srgbClr val="A6A5A5"/>
                </a:solidFill>
                <a:cs typeface="Calibri"/>
              </a:rPr>
              <a:t>- Best with </a:t>
            </a:r>
            <a:r>
              <a:rPr lang="en-US" sz="2800" dirty="0">
                <a:solidFill>
                  <a:srgbClr val="8063A1"/>
                </a:solidFill>
                <a:cs typeface="Calibri"/>
              </a:rPr>
              <a:t>sparse distances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. </a:t>
            </a:r>
          </a:p>
          <a:p>
            <a:pPr marL="12700" marR="3555855">
              <a:lnSpc>
                <a:spcPts val="3300"/>
              </a:lnSpc>
              <a:spcBef>
                <a:spcPts val="5"/>
              </a:spcBef>
            </a:pPr>
            <a:r>
              <a:rPr lang="en-US" sz="2800" dirty="0">
                <a:solidFill>
                  <a:srgbClr val="A6A5A5"/>
                </a:solidFill>
                <a:cs typeface="Calibri"/>
              </a:rPr>
              <a:t>- Tends to ﬁnd </a:t>
            </a:r>
            <a:r>
              <a:rPr lang="en-US" sz="2800" dirty="0">
                <a:solidFill>
                  <a:srgbClr val="9BBA58"/>
                </a:solidFill>
                <a:cs typeface="Calibri"/>
              </a:rPr>
              <a:t>even sized clusters.</a:t>
            </a:r>
            <a:endParaRPr lang="en-US" sz="2800" dirty="0">
              <a:solidFill>
                <a:prstClr val="black"/>
              </a:solidFill>
              <a:cs typeface="Calibri"/>
            </a:endParaRPr>
          </a:p>
          <a:p>
            <a:pPr marL="12700" marR="53340">
              <a:lnSpc>
                <a:spcPct val="101725"/>
              </a:lnSpc>
            </a:pPr>
            <a:r>
              <a:rPr lang="en-US" sz="2800" dirty="0">
                <a:solidFill>
                  <a:srgbClr val="A6A5A5"/>
                </a:solidFill>
                <a:cs typeface="Calibri"/>
              </a:rPr>
              <a:t>- Good with </a:t>
            </a:r>
            <a:r>
              <a:rPr lang="en-US" sz="2800" dirty="0">
                <a:solidFill>
                  <a:srgbClr val="4BABC5"/>
                </a:solidFill>
                <a:cs typeface="Calibri"/>
              </a:rPr>
              <a:t>only a few clusters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, rubbish with many.</a:t>
            </a:r>
            <a:endParaRPr lang="en-US" sz="2800" dirty="0">
              <a:solidFill>
                <a:prstClr val="black"/>
              </a:solidFill>
              <a:cs typeface="Calibri"/>
            </a:endParaRPr>
          </a:p>
          <a:p>
            <a:pPr marL="12700">
              <a:lnSpc>
                <a:spcPts val="3300"/>
              </a:lnSpc>
              <a:spcBef>
                <a:spcPts val="165"/>
              </a:spcBef>
            </a:pPr>
            <a:r>
              <a:rPr lang="en-US" sz="4200" baseline="1950" dirty="0">
                <a:solidFill>
                  <a:srgbClr val="A6A5A5"/>
                </a:solidFill>
                <a:cs typeface="Calibri"/>
              </a:rPr>
              <a:t>- Can handle </a:t>
            </a:r>
            <a:r>
              <a:rPr lang="en-US" sz="4200" baseline="1950" dirty="0">
                <a:solidFill>
                  <a:srgbClr val="BF4F4D"/>
                </a:solidFill>
                <a:cs typeface="Calibri"/>
              </a:rPr>
              <a:t>weirdest connectivity shapes </a:t>
            </a:r>
            <a:r>
              <a:rPr lang="en-US" sz="3300" baseline="2482" dirty="0">
                <a:solidFill>
                  <a:srgbClr val="A6A5A5"/>
                </a:solidFill>
                <a:cs typeface="Calibri"/>
              </a:rPr>
              <a:t>(like concentric circles)</a:t>
            </a:r>
            <a:endParaRPr lang="en-US" sz="2200" dirty="0">
              <a:solidFill>
                <a:prstClr val="black"/>
              </a:solidFill>
              <a:cs typeface="Calibri"/>
            </a:endParaRPr>
          </a:p>
          <a:p>
            <a:pPr marL="12700" marR="53340">
              <a:lnSpc>
                <a:spcPts val="3365"/>
              </a:lnSpc>
              <a:spcBef>
                <a:spcPts val="3"/>
              </a:spcBef>
            </a:pPr>
            <a:r>
              <a:rPr lang="en-US" sz="2800" dirty="0">
                <a:solidFill>
                  <a:srgbClr val="F69545"/>
                </a:solidFill>
                <a:cs typeface="Calibri"/>
              </a:rPr>
              <a:t>- Euclidean distance only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.</a:t>
            </a:r>
            <a:endParaRPr lang="en-US" sz="2800" dirty="0">
              <a:solidFill>
                <a:prstClr val="black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638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667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136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3166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635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4665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134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6163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632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7662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9131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9161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638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667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0.1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3136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3166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17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635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4665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134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6163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32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7662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6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9131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9161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1638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667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1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136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3166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45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635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4665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3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134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6163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4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632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7662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31s</a:t>
            </a:r>
          </a:p>
        </p:txBody>
      </p:sp>
      <p:sp>
        <p:nvSpPr>
          <p:cNvPr id="76" name="Rectangle 75"/>
          <p:cNvSpPr/>
          <p:nvPr/>
        </p:nvSpPr>
        <p:spPr>
          <a:xfrm>
            <a:off x="9131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9161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1s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1638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667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2s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3136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3166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8.53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4635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4665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6s</a:t>
            </a:r>
          </a:p>
        </p:txBody>
      </p:sp>
      <p:sp>
        <p:nvSpPr>
          <p:cNvPr id="99" name="Rectangle 98"/>
          <p:cNvSpPr/>
          <p:nvPr/>
        </p:nvSpPr>
        <p:spPr>
          <a:xfrm>
            <a:off x="6134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6163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08s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632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7662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21s</a:t>
            </a:r>
          </a:p>
        </p:txBody>
      </p:sp>
      <p:sp>
        <p:nvSpPr>
          <p:cNvPr id="95" name="Rectangle 94"/>
          <p:cNvSpPr/>
          <p:nvPr/>
        </p:nvSpPr>
        <p:spPr>
          <a:xfrm>
            <a:off x="9131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9161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7F7E7E"/>
                </a:solidFill>
              </a:rPr>
              <a:t>.10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667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166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665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163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7662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Ward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161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7F7E7E"/>
                </a:solidFill>
              </a:rPr>
              <a:t>DBSCAN</a:t>
            </a:r>
          </a:p>
        </p:txBody>
      </p:sp>
      <p:grpSp>
        <p:nvGrpSpPr>
          <p:cNvPr id="118" name="Group 117"/>
          <p:cNvGrpSpPr/>
          <p:nvPr/>
        </p:nvGrpSpPr>
        <p:grpSpPr>
          <a:xfrm>
            <a:off x="3276601" y="457201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736254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6235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7730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9242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739720" y="2061777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3244850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1768296" y="3642927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635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43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48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63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645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49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3290781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4798977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6302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7829659" y="3642927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9408678" y="3642927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1733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4741828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6236494" y="2041526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7750970" y="2041526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9238980" y="2041526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6112234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060739626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6831451"/>
      </p:ext>
    </p:extLst>
  </p:cSld>
  <p:clrMapOvr>
    <a:masterClrMapping/>
  </p:clrMapOvr>
  <p:transition spd="med"/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8693F-C5F1-4441-A350-3FBB2D9BD4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does clustering</a:t>
            </a:r>
            <a:br>
              <a:rPr lang="en-US" dirty="0"/>
            </a:br>
            <a:r>
              <a:rPr lang="en-US" dirty="0"/>
              <a:t>with cosine distance</a:t>
            </a:r>
            <a:br>
              <a:rPr lang="en-US" dirty="0"/>
            </a:br>
            <a:r>
              <a:rPr lang="en-US" dirty="0"/>
              <a:t>look like?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1A209F-53B1-1D47-8303-B84B098E92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407424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5"/>
          <p:cNvSpPr txBox="1"/>
          <p:nvPr/>
        </p:nvSpPr>
        <p:spPr>
          <a:xfrm>
            <a:off x="3625916" y="369651"/>
            <a:ext cx="6889684" cy="8159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With cosine distance</a:t>
            </a:r>
            <a:r>
              <a:rPr lang="en-US" sz="3200" dirty="0">
                <a:solidFill>
                  <a:srgbClr val="7F7E7E"/>
                </a:solidFill>
                <a:cs typeface="Calibri"/>
              </a:rPr>
              <a:t>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4" name="object 3"/>
          <p:cNvSpPr txBox="1"/>
          <p:nvPr/>
        </p:nvSpPr>
        <p:spPr>
          <a:xfrm>
            <a:off x="6668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15493763"/>
      </p:ext>
    </p:extLst>
  </p:cSld>
  <p:clrMapOvr>
    <a:masterClrMapping/>
  </p:clrMapOvr>
  <p:transition spd="med"/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3625916" y="369651"/>
            <a:ext cx="6889684" cy="8159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With cosine distance</a:t>
            </a:r>
            <a:r>
              <a:rPr lang="en-US" sz="3200" dirty="0">
                <a:solidFill>
                  <a:srgbClr val="7F7E7E"/>
                </a:solidFill>
                <a:cs typeface="Calibri"/>
              </a:rPr>
              <a:t>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78" name="object 3"/>
          <p:cNvSpPr txBox="1"/>
          <p:nvPr/>
        </p:nvSpPr>
        <p:spPr>
          <a:xfrm>
            <a:off x="6668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272570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object 13"/>
          <p:cNvSpPr/>
          <p:nvPr/>
        </p:nvSpPr>
        <p:spPr>
          <a:xfrm>
            <a:off x="3841465" y="867275"/>
            <a:ext cx="4948869" cy="5124998"/>
          </a:xfrm>
          <a:custGeom>
            <a:avLst/>
            <a:gdLst/>
            <a:ahLst/>
            <a:cxnLst/>
            <a:rect l="l" t="t" r="r" b="b"/>
            <a:pathLst>
              <a:path w="4948869" h="5124998">
                <a:moveTo>
                  <a:pt x="4430965" y="0"/>
                </a:moveTo>
                <a:lnTo>
                  <a:pt x="0" y="5124998"/>
                </a:lnTo>
                <a:lnTo>
                  <a:pt x="4948869" y="498148"/>
                </a:lnTo>
                <a:lnTo>
                  <a:pt x="4430965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5"/>
          <p:cNvSpPr txBox="1"/>
          <p:nvPr/>
        </p:nvSpPr>
        <p:spPr>
          <a:xfrm>
            <a:off x="3625916" y="369651"/>
            <a:ext cx="6889684" cy="8159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With cosine distance</a:t>
            </a:r>
            <a:r>
              <a:rPr lang="en-US" sz="3200" dirty="0">
                <a:solidFill>
                  <a:srgbClr val="7F7E7E"/>
                </a:solidFill>
                <a:cs typeface="Calibri"/>
              </a:rPr>
              <a:t>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78" name="object 3"/>
          <p:cNvSpPr txBox="1"/>
          <p:nvPr/>
        </p:nvSpPr>
        <p:spPr>
          <a:xfrm>
            <a:off x="6668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180161222"/>
      </p:ext>
    </p:extLst>
  </p:cSld>
  <p:clrMapOvr>
    <a:masterClrMapping/>
  </p:clrMapOvr>
  <p:transition spd="med"/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5"/>
          <p:cNvSpPr txBox="1"/>
          <p:nvPr/>
        </p:nvSpPr>
        <p:spPr>
          <a:xfrm>
            <a:off x="3625916" y="369651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Potential clusters with cosine distance </a:t>
            </a:r>
          </a:p>
        </p:txBody>
      </p:sp>
      <p:sp>
        <p:nvSpPr>
          <p:cNvPr id="82" name="object 3"/>
          <p:cNvSpPr txBox="1"/>
          <p:nvPr/>
        </p:nvSpPr>
        <p:spPr>
          <a:xfrm>
            <a:off x="6668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5"/>
          <p:cNvSpPr txBox="1"/>
          <p:nvPr/>
        </p:nvSpPr>
        <p:spPr>
          <a:xfrm>
            <a:off x="3625916" y="369651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Potential clusters with cosine distance </a:t>
            </a:r>
          </a:p>
        </p:txBody>
      </p:sp>
      <p:sp>
        <p:nvSpPr>
          <p:cNvPr id="82" name="object 3"/>
          <p:cNvSpPr txBox="1"/>
          <p:nvPr/>
        </p:nvSpPr>
        <p:spPr>
          <a:xfrm>
            <a:off x="6668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3625916" y="369651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Potential clusters with cosine distance </a:t>
            </a:r>
          </a:p>
        </p:txBody>
      </p:sp>
      <p:sp>
        <p:nvSpPr>
          <p:cNvPr id="90" name="object 3"/>
          <p:cNvSpPr txBox="1"/>
          <p:nvPr/>
        </p:nvSpPr>
        <p:spPr>
          <a:xfrm>
            <a:off x="6668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91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sp>
        <p:nvSpPr>
          <p:cNvPr id="125" name="object 67"/>
          <p:cNvSpPr/>
          <p:nvPr/>
        </p:nvSpPr>
        <p:spPr>
          <a:xfrm>
            <a:off x="3907437" y="1666264"/>
            <a:ext cx="0" cy="4277336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0"/>
          <p:cNvSpPr/>
          <p:nvPr/>
        </p:nvSpPr>
        <p:spPr>
          <a:xfrm>
            <a:off x="3907438" y="5943600"/>
            <a:ext cx="6492933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7"/>
          <p:cNvSpPr/>
          <p:nvPr/>
        </p:nvSpPr>
        <p:spPr>
          <a:xfrm>
            <a:off x="3907437" y="1666264"/>
            <a:ext cx="0" cy="4277336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0"/>
          <p:cNvSpPr/>
          <p:nvPr/>
        </p:nvSpPr>
        <p:spPr>
          <a:xfrm>
            <a:off x="3907438" y="5943600"/>
            <a:ext cx="6492933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132" name="Straight Connector 131"/>
          <p:cNvCxnSpPr/>
          <p:nvPr/>
        </p:nvCxnSpPr>
        <p:spPr>
          <a:xfrm flipV="1">
            <a:off x="3917785" y="1788282"/>
            <a:ext cx="5338853" cy="4147777"/>
          </a:xfrm>
          <a:prstGeom prst="line">
            <a:avLst/>
          </a:pr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135" name="Straight Connector 134"/>
          <p:cNvCxnSpPr/>
          <p:nvPr/>
        </p:nvCxnSpPr>
        <p:spPr>
          <a:xfrm flipV="1">
            <a:off x="3950675" y="3437919"/>
            <a:ext cx="6304731" cy="2493460"/>
          </a:xfrm>
          <a:prstGeom prst="line">
            <a:avLst/>
          </a:pr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</p:spTree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68572603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03470898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256907286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92365077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233152795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25712810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052671" y="265668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164250" y="4009393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3625916" y="369650"/>
            <a:ext cx="6584884" cy="43180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K‐Means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625916" y="8522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Randomly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assign two cluster centers</a:t>
            </a:r>
            <a:r>
              <a:rPr lang="en-US" sz="4800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sz="48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164250" y="4009393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5052671" y="2656687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93" name="Group 9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9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40324788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22771626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126664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180313500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79046347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85392110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067504645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7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240296609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6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21383531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5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525932695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4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38563123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3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7404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945507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5"/>
                </a:lnTo>
                <a:lnTo>
                  <a:pt x="285311" y="282564"/>
                </a:lnTo>
                <a:lnTo>
                  <a:pt x="293194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716732" y="15932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052671" y="265668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164250" y="4009393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3625916" y="369650"/>
            <a:ext cx="6280085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K-­Means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625916" y="852250"/>
            <a:ext cx="6280085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Each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point belongs to closest center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67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8164250" y="4009393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5052671" y="2656687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8" name="Group 87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8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62279138"/>
      </p:ext>
    </p:extLst>
  </p:cSld>
  <p:clrMapOvr>
    <a:masterClrMapping/>
  </p:clrMapOvr>
  <p:transition spd="med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3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080101760"/>
      </p:ext>
    </p:extLst>
  </p:cSld>
  <p:clrMapOvr>
    <a:masterClrMapping/>
  </p:clrMapOvr>
  <p:transition spd="med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2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71096490"/>
      </p:ext>
    </p:extLst>
  </p:cSld>
  <p:clrMapOvr>
    <a:masterClrMapping/>
  </p:clrMapOvr>
  <p:transition spd="med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1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93621114"/>
      </p:ext>
    </p:extLst>
  </p:cSld>
  <p:clrMapOvr>
    <a:masterClrMapping/>
  </p:clrMapOvr>
  <p:transition spd="med"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 txBox="1"/>
          <p:nvPr/>
        </p:nvSpPr>
        <p:spPr>
          <a:xfrm>
            <a:off x="2835123" y="1334850"/>
            <a:ext cx="7604526" cy="45675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cs typeface="Calibri"/>
              </a:rPr>
              <a:t>Stop eithe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r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endParaRPr lang="en-US" sz="4800" baseline="1706" dirty="0">
              <a:solidFill>
                <a:srgbClr val="7F7E7E"/>
              </a:solidFill>
              <a:cs typeface="Calibri"/>
            </a:endParaRPr>
          </a:p>
          <a:p>
            <a:pPr marL="496888" lvl="2" indent="-496888">
              <a:lnSpc>
                <a:spcPts val="3400"/>
              </a:lnSpc>
              <a:spcBef>
                <a:spcPts val="170"/>
              </a:spcBef>
              <a:buSzPct val="80000"/>
              <a:buFont typeface="Calibri" panose="020F0502020204030204" pitchFamily="34" charset="0"/>
              <a:buChar char="−"/>
            </a:pPr>
            <a:r>
              <a:rPr lang="en-US" sz="4800" baseline="2560" dirty="0">
                <a:solidFill>
                  <a:srgbClr val="7F7E7E"/>
                </a:solidFill>
                <a:cs typeface="Calibri"/>
              </a:rPr>
              <a:t>when you reach the correct </a:t>
            </a:r>
            <a:r>
              <a:rPr lang="en-US" sz="4800" baseline="2560" dirty="0" err="1">
                <a:solidFill>
                  <a:srgbClr val="F69545"/>
                </a:solidFill>
                <a:cs typeface="Calibri"/>
              </a:rPr>
              <a:t>num_clusters</a:t>
            </a:r>
            <a:r>
              <a:rPr lang="en-US" sz="4800" baseline="2560" dirty="0">
                <a:solidFill>
                  <a:srgbClr val="F69545"/>
                </a:solidFill>
                <a:cs typeface="Calibri"/>
              </a:rPr>
              <a:t> </a:t>
            </a:r>
            <a:r>
              <a:rPr lang="en-US" sz="4000" baseline="1365" dirty="0">
                <a:solidFill>
                  <a:srgbClr val="7F7E7E"/>
                </a:solidFill>
                <a:cs typeface="Calibri"/>
              </a:rPr>
              <a:t>(next step would mean fewer clusters than desired)</a:t>
            </a:r>
          </a:p>
          <a:p>
            <a:pPr marL="496888" lvl="2" indent="-496888">
              <a:lnSpc>
                <a:spcPts val="3400"/>
              </a:lnSpc>
              <a:spcBef>
                <a:spcPts val="170"/>
              </a:spcBef>
              <a:buSzPct val="80000"/>
              <a:buFont typeface="Calibri" panose="020F0502020204030204" pitchFamily="34" charset="0"/>
              <a:buChar char="−"/>
            </a:pPr>
            <a:endParaRPr lang="en-US" sz="4800" baseline="1365" dirty="0">
              <a:solidFill>
                <a:srgbClr val="7F7E7E"/>
              </a:solidFill>
              <a:cs typeface="Calibri"/>
            </a:endParaRPr>
          </a:p>
          <a:p>
            <a:pPr marL="0" lvl="2">
              <a:lnSpc>
                <a:spcPts val="3400"/>
              </a:lnSpc>
              <a:spcBef>
                <a:spcPts val="170"/>
              </a:spcBef>
              <a:buSzPct val="80000"/>
            </a:pPr>
            <a:r>
              <a:rPr lang="en-US" sz="4800" baseline="1365" dirty="0">
                <a:solidFill>
                  <a:srgbClr val="7F7E7E"/>
                </a:solidFill>
                <a:cs typeface="Calibri"/>
              </a:rPr>
              <a:t>Or</a:t>
            </a:r>
          </a:p>
          <a:p>
            <a:pPr marL="0" lvl="2">
              <a:lnSpc>
                <a:spcPts val="3400"/>
              </a:lnSpc>
              <a:spcBef>
                <a:spcPts val="170"/>
              </a:spcBef>
              <a:buSzPct val="80000"/>
            </a:pPr>
            <a:endParaRPr lang="en-US" sz="4800" baseline="1365" dirty="0">
              <a:solidFill>
                <a:srgbClr val="7F7E7E"/>
              </a:solidFill>
              <a:cs typeface="Calibri"/>
            </a:endParaRPr>
          </a:p>
          <a:p>
            <a:pPr marL="496888" lvl="2" indent="-496888">
              <a:lnSpc>
                <a:spcPts val="3400"/>
              </a:lnSpc>
              <a:spcBef>
                <a:spcPts val="170"/>
              </a:spcBef>
              <a:buSzPct val="80000"/>
              <a:buFont typeface="Calibri" panose="020F0502020204030204" pitchFamily="34" charset="0"/>
              <a:buChar char="−"/>
            </a:pPr>
            <a:r>
              <a:rPr lang="en-US" sz="4800" baseline="2560" dirty="0">
                <a:solidFill>
                  <a:srgbClr val="7F7E7E"/>
                </a:solidFill>
                <a:cs typeface="Calibri"/>
              </a:rPr>
              <a:t>when </a:t>
            </a:r>
            <a:r>
              <a:rPr lang="en-US" sz="4800" baseline="2560" dirty="0">
                <a:solidFill>
                  <a:srgbClr val="9BBA58"/>
                </a:solidFill>
                <a:cs typeface="Calibri"/>
              </a:rPr>
              <a:t>min cluster distance </a:t>
            </a:r>
            <a:r>
              <a:rPr lang="en-US" sz="4800" baseline="2560" dirty="0">
                <a:solidFill>
                  <a:srgbClr val="7F7E7E"/>
                </a:solidFill>
                <a:cs typeface="Calibri"/>
              </a:rPr>
              <a:t>reaches a set value</a:t>
            </a:r>
            <a:r>
              <a:rPr lang="en-US" sz="4800" dirty="0">
                <a:cs typeface="Calibri"/>
              </a:rPr>
              <a:t> </a:t>
            </a:r>
            <a:r>
              <a:rPr lang="en-US" sz="4000" baseline="2730" dirty="0">
                <a:solidFill>
                  <a:srgbClr val="7F7E7E"/>
                </a:solidFill>
                <a:cs typeface="Calibri"/>
              </a:rPr>
              <a:t>(next step would mean merging along too large a distance)</a:t>
            </a:r>
            <a:endParaRPr lang="en-US" sz="4000" dirty="0">
              <a:cs typeface="Calibri"/>
            </a:endParaRPr>
          </a:p>
        </p:txBody>
      </p:sp>
      <p:sp>
        <p:nvSpPr>
          <p:cNvPr id="12" name="object 10"/>
          <p:cNvSpPr txBox="1"/>
          <p:nvPr/>
        </p:nvSpPr>
        <p:spPr>
          <a:xfrm>
            <a:off x="2835123" y="369650"/>
            <a:ext cx="7528076" cy="419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ti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ve</a:t>
            </a:r>
            <a:r>
              <a:rPr sz="4800" spc="-248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6896892"/>
      </p:ext>
    </p:extLst>
  </p:cSld>
  <p:clrMapOvr>
    <a:masterClrMapping/>
  </p:clrMapOvr>
  <p:transition spd="med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3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941069840"/>
      </p:ext>
    </p:extLst>
  </p:cSld>
  <p:clrMapOvr>
    <a:masterClrMapping/>
  </p:clrMapOvr>
  <p:transition spd="med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3867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7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3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12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61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6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6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48" name="object 2"/>
          <p:cNvSpPr txBox="1"/>
          <p:nvPr/>
        </p:nvSpPr>
        <p:spPr>
          <a:xfrm>
            <a:off x="4485867" y="2573905"/>
            <a:ext cx="4738702" cy="2344280"/>
          </a:xfrm>
          <a:prstGeom prst="rect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0" scaled="1"/>
            <a:tileRect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650"/>
              </a:lnSpc>
              <a:spcBef>
                <a:spcPts val="25"/>
              </a:spcBef>
            </a:pPr>
            <a:endParaRPr sz="650" dirty="0"/>
          </a:p>
          <a:p>
            <a:pPr marL="91440" algn="ctr">
              <a:lnSpc>
                <a:spcPct val="101725"/>
              </a:lnSpc>
            </a:pPr>
            <a:r>
              <a:rPr sz="6600" dirty="0">
                <a:solidFill>
                  <a:srgbClr val="FEFFFE"/>
                </a:solidFill>
                <a:latin typeface="Calibri"/>
                <a:cs typeface="Calibri"/>
              </a:rPr>
              <a:t>Stop. I want</a:t>
            </a:r>
            <a:endParaRPr sz="6600" dirty="0">
              <a:latin typeface="Calibri"/>
              <a:cs typeface="Calibri"/>
            </a:endParaRPr>
          </a:p>
          <a:p>
            <a:pPr marL="91440" algn="ctr">
              <a:lnSpc>
                <a:spcPts val="7900"/>
              </a:lnSpc>
              <a:spcBef>
                <a:spcPts val="395"/>
              </a:spcBef>
            </a:pPr>
            <a:r>
              <a:rPr sz="9900" baseline="1654" dirty="0">
                <a:solidFill>
                  <a:srgbClr val="FEFFFE"/>
                </a:solidFill>
                <a:latin typeface="Calibri"/>
                <a:cs typeface="Calibri"/>
              </a:rPr>
              <a:t>3 clusters.</a:t>
            </a:r>
            <a:endParaRPr sz="66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2131539"/>
      </p:ext>
    </p:extLst>
  </p:cSld>
  <p:clrMapOvr>
    <a:masterClrMapping/>
  </p:clrMapOvr>
  <p:transition spd="med"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4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93137223"/>
      </p:ext>
    </p:extLst>
  </p:cSld>
  <p:clrMapOvr>
    <a:masterClrMapping/>
  </p:clrMapOvr>
  <p:transition spd="med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7" name="object 11"/>
          <p:cNvSpPr txBox="1"/>
          <p:nvPr/>
        </p:nvSpPr>
        <p:spPr>
          <a:xfrm>
            <a:off x="3625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Current </a:t>
            </a:r>
            <a:r>
              <a:rPr lang="en-US" dirty="0" err="1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>
                <a:solidFill>
                  <a:srgbClr val="F69545"/>
                </a:solidFill>
                <a:latin typeface="+mj-lt"/>
              </a:rPr>
              <a:t> = 4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1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48" name="object 2"/>
          <p:cNvSpPr txBox="1"/>
          <p:nvPr/>
        </p:nvSpPr>
        <p:spPr>
          <a:xfrm>
            <a:off x="4485867" y="2573905"/>
            <a:ext cx="4738702" cy="2344280"/>
          </a:xfrm>
          <a:prstGeom prst="rect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0" scaled="1"/>
            <a:tileRect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650"/>
              </a:lnSpc>
              <a:spcBef>
                <a:spcPts val="25"/>
              </a:spcBef>
            </a:pPr>
            <a:endParaRPr sz="4000" dirty="0"/>
          </a:p>
          <a:p>
            <a:pPr marL="91440" algn="ctr">
              <a:lnSpc>
                <a:spcPct val="101725"/>
              </a:lnSpc>
            </a:pPr>
            <a:r>
              <a:rPr sz="4000" dirty="0">
                <a:solidFill>
                  <a:srgbClr val="FEFFFE"/>
                </a:solidFill>
                <a:latin typeface="Calibri"/>
                <a:cs typeface="Calibri"/>
              </a:rPr>
              <a:t>Stop. </a:t>
            </a:r>
            <a:r>
              <a:rPr lang="en-US" sz="4000" dirty="0">
                <a:solidFill>
                  <a:srgbClr val="FEFFFE"/>
                </a:solidFill>
                <a:cs typeface="Calibri"/>
              </a:rPr>
              <a:t>Don’t merge clusters farther than 2.765</a:t>
            </a:r>
          </a:p>
        </p:txBody>
      </p:sp>
    </p:spTree>
    <p:extLst>
      <p:ext uri="{BB962C8B-B14F-4D97-AF65-F5344CB8AC3E}">
        <p14:creationId xmlns:p14="http://schemas.microsoft.com/office/powerpoint/2010/main" val="2391194763"/>
      </p:ext>
    </p:extLst>
  </p:cSld>
  <p:clrMapOvr>
    <a:masterClrMapping/>
  </p:clrMapOvr>
  <p:transition spd="med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3253668"/>
      </p:ext>
    </p:extLst>
  </p:cSld>
  <p:clrMapOvr>
    <a:masterClrMapping/>
  </p:clrMapOvr>
  <p:transition spd="med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224553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3"/>
          <p:cNvSpPr/>
          <p:nvPr/>
        </p:nvSpPr>
        <p:spPr>
          <a:xfrm>
            <a:off x="5938373" y="54871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7404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5850963" y="34938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999580" y="3463385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47624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654533" y="40499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9" y="347111"/>
                </a:lnTo>
                <a:lnTo>
                  <a:pt x="182986" y="345648"/>
                </a:lnTo>
                <a:lnTo>
                  <a:pt x="196530" y="342928"/>
                </a:lnTo>
                <a:lnTo>
                  <a:pt x="209650" y="339006"/>
                </a:lnTo>
                <a:lnTo>
                  <a:pt x="222295" y="333938"/>
                </a:lnTo>
                <a:lnTo>
                  <a:pt x="234413" y="327779"/>
                </a:lnTo>
                <a:lnTo>
                  <a:pt x="245953" y="320585"/>
                </a:lnTo>
                <a:lnTo>
                  <a:pt x="256864" y="312411"/>
                </a:lnTo>
                <a:lnTo>
                  <a:pt x="267095" y="303312"/>
                </a:lnTo>
                <a:lnTo>
                  <a:pt x="276595" y="293345"/>
                </a:lnTo>
                <a:lnTo>
                  <a:pt x="285312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3"/>
                </a:lnTo>
                <a:lnTo>
                  <a:pt x="315366" y="218396"/>
                </a:lnTo>
                <a:lnTo>
                  <a:pt x="318312" y="203898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2"/>
                </a:lnTo>
                <a:lnTo>
                  <a:pt x="336274" y="144214"/>
                </a:lnTo>
                <a:lnTo>
                  <a:pt x="333315" y="130058"/>
                </a:lnTo>
                <a:lnTo>
                  <a:pt x="329259" y="116354"/>
                </a:lnTo>
                <a:lnTo>
                  <a:pt x="324157" y="103154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0"/>
                </a:lnTo>
                <a:lnTo>
                  <a:pt x="274361" y="37412"/>
                </a:lnTo>
                <a:lnTo>
                  <a:pt x="263332" y="29176"/>
                </a:lnTo>
                <a:lnTo>
                  <a:pt x="251657" y="21855"/>
                </a:lnTo>
                <a:lnTo>
                  <a:pt x="239384" y="15500"/>
                </a:lnTo>
                <a:lnTo>
                  <a:pt x="226566" y="10162"/>
                </a:lnTo>
                <a:lnTo>
                  <a:pt x="213251" y="5892"/>
                </a:lnTo>
                <a:lnTo>
                  <a:pt x="199490" y="2742"/>
                </a:lnTo>
                <a:lnTo>
                  <a:pt x="185332" y="763"/>
                </a:lnTo>
                <a:lnTo>
                  <a:pt x="170828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70"/>
                </a:lnTo>
                <a:lnTo>
                  <a:pt x="15114" y="101855"/>
                </a:lnTo>
                <a:lnTo>
                  <a:pt x="9909" y="115002"/>
                </a:lnTo>
                <a:lnTo>
                  <a:pt x="5745" y="128657"/>
                </a:lnTo>
                <a:lnTo>
                  <a:pt x="2673" y="142770"/>
                </a:lnTo>
                <a:lnTo>
                  <a:pt x="744" y="157290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7"/>
                </a:lnTo>
                <a:lnTo>
                  <a:pt x="2427" y="203145"/>
                </a:lnTo>
                <a:lnTo>
                  <a:pt x="5386" y="217302"/>
                </a:lnTo>
                <a:lnTo>
                  <a:pt x="9441" y="231005"/>
                </a:lnTo>
                <a:lnTo>
                  <a:pt x="14544" y="244205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2" y="280268"/>
                </a:lnTo>
                <a:lnTo>
                  <a:pt x="44421" y="290939"/>
                </a:lnTo>
                <a:lnTo>
                  <a:pt x="54007" y="300850"/>
                </a:lnTo>
                <a:lnTo>
                  <a:pt x="64339" y="309948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0"/>
                </a:lnTo>
                <a:lnTo>
                  <a:pt x="112134" y="337198"/>
                </a:lnTo>
                <a:lnTo>
                  <a:pt x="125449" y="341468"/>
                </a:lnTo>
                <a:lnTo>
                  <a:pt x="139210" y="344618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0"/>
                </a:lnTo>
                <a:lnTo>
                  <a:pt x="198081" y="344872"/>
                </a:lnTo>
                <a:lnTo>
                  <a:pt x="211885" y="341837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6"/>
                </a:lnTo>
                <a:lnTo>
                  <a:pt x="310251" y="270065"/>
                </a:lnTo>
                <a:lnTo>
                  <a:pt x="317390" y="258091"/>
                </a:lnTo>
                <a:lnTo>
                  <a:pt x="323587" y="245505"/>
                </a:lnTo>
                <a:lnTo>
                  <a:pt x="328792" y="232359"/>
                </a:lnTo>
                <a:lnTo>
                  <a:pt x="332955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6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562354" y="248300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5"/>
                </a:lnTo>
                <a:lnTo>
                  <a:pt x="285310" y="282564"/>
                </a:lnTo>
                <a:lnTo>
                  <a:pt x="293193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725572" y="31699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652134" y="33920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625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cs typeface="Calibri"/>
              </a:rPr>
              <a:t>K‐Means </a:t>
            </a:r>
            <a:r>
              <a:rPr sz="4800" baseline="1706" dirty="0">
                <a:solidFill>
                  <a:srgbClr val="F69545"/>
                </a:solidFill>
                <a:cs typeface="Calibri"/>
              </a:rPr>
              <a:t>K=2</a:t>
            </a:r>
            <a:endParaRPr sz="3200" dirty="0"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625916" y="852250"/>
            <a:ext cx="66610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cs typeface="Calibri"/>
              </a:rPr>
              <a:t>Move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 each center to the cluster’s mean</a:t>
            </a:r>
            <a:endParaRPr sz="3200" dirty="0"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67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999580" y="3463385"/>
            <a:ext cx="394167" cy="381727"/>
          </a:xfrm>
          <a:prstGeom prst="rect">
            <a:avLst/>
          </a:pr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7652134" y="3392092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20722738"/>
      </p:ext>
    </p:extLst>
  </p:cSld>
  <p:clrMapOvr>
    <a:masterClrMapping/>
  </p:clrMapOvr>
  <p:transition spd="med"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0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90520336"/>
      </p:ext>
    </p:extLst>
  </p:cSld>
  <p:clrMapOvr>
    <a:masterClrMapping/>
  </p:clrMapOvr>
  <p:transition spd="med"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7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50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51" name="Group 150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5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5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84104864"/>
      </p:ext>
    </p:extLst>
  </p:cSld>
  <p:clrMapOvr>
    <a:masterClrMapping/>
  </p:clrMapOvr>
  <p:transition spd="med"/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2675031"/>
      </p:ext>
    </p:extLst>
  </p:cSld>
  <p:clrMapOvr>
    <a:masterClrMapping/>
  </p:clrMapOvr>
  <p:transition spd="med"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26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12721885"/>
      </p:ext>
    </p:extLst>
  </p:cSld>
  <p:clrMapOvr>
    <a:masterClrMapping/>
  </p:clrMapOvr>
  <p:transition spd="med"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4"/>
          <p:cNvSpPr/>
          <p:nvPr/>
        </p:nvSpPr>
        <p:spPr>
          <a:xfrm>
            <a:off x="3467323" y="4876800"/>
            <a:ext cx="6733304" cy="0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44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3322935"/>
      </p:ext>
    </p:extLst>
  </p:cSld>
  <p:clrMapOvr>
    <a:masterClrMapping/>
  </p:clrMapOvr>
  <p:transition spd="med"/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0524533"/>
      </p:ext>
    </p:extLst>
  </p:cSld>
  <p:clrMapOvr>
    <a:masterClrMapping/>
  </p:clrMapOvr>
  <p:transition spd="med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2025739"/>
      </p:ext>
    </p:extLst>
  </p:cSld>
  <p:clrMapOvr>
    <a:masterClrMapping/>
  </p:clrMapOvr>
  <p:transition spd="med"/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8338292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 32"/>
          <p:cNvSpPr/>
          <p:nvPr/>
        </p:nvSpPr>
        <p:spPr>
          <a:xfrm flipH="1">
            <a:off x="7010827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bject 68"/>
          <p:cNvSpPr/>
          <p:nvPr/>
        </p:nvSpPr>
        <p:spPr>
          <a:xfrm>
            <a:off x="8129774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6820609"/>
      </p:ext>
    </p:extLst>
  </p:cSld>
  <p:clrMapOvr>
    <a:masterClrMapping/>
  </p:clrMapOvr>
  <p:transition spd="med"/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9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Freeform 32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 33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62" name="Freeform 61"/>
          <p:cNvSpPr/>
          <p:nvPr/>
        </p:nvSpPr>
        <p:spPr>
          <a:xfrm>
            <a:off x="8338292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Freeform 62"/>
          <p:cNvSpPr/>
          <p:nvPr/>
        </p:nvSpPr>
        <p:spPr>
          <a:xfrm flipH="1">
            <a:off x="7010827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bject 68"/>
          <p:cNvSpPr/>
          <p:nvPr/>
        </p:nvSpPr>
        <p:spPr>
          <a:xfrm>
            <a:off x="8129774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24"/>
          <p:cNvSpPr/>
          <p:nvPr/>
        </p:nvSpPr>
        <p:spPr>
          <a:xfrm>
            <a:off x="9525000" y="3695502"/>
            <a:ext cx="675626" cy="45719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5298724"/>
      </p:ext>
    </p:extLst>
  </p:cSld>
  <p:clrMapOvr>
    <a:masterClrMapping/>
  </p:clrMapOvr>
  <p:transition spd="med"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9599308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84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7404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625916" y="369650"/>
            <a:ext cx="6737285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K­‐Means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625916" y="8522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Each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point belongs to the closest center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67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64" name="object 64"/>
          <p:cNvSpPr/>
          <p:nvPr/>
        </p:nvSpPr>
        <p:spPr>
          <a:xfrm>
            <a:off x="5999580" y="3463385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652134" y="33920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5177331"/>
      </p:ext>
    </p:extLst>
  </p:cSld>
  <p:clrMapOvr>
    <a:masterClrMapping/>
  </p:clrMapOvr>
  <p:transition spd="med"/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53985926"/>
      </p:ext>
    </p:extLst>
  </p:cSld>
  <p:clrMapOvr>
    <a:masterClrMapping/>
  </p:clrMapOvr>
  <p:transition spd="med"/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/>
          <p:nvPr/>
        </p:nvSpPr>
        <p:spPr>
          <a:xfrm>
            <a:off x="3870247" y="2489822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39" name="Freeform 38"/>
          <p:cNvSpPr/>
          <p:nvPr/>
        </p:nvSpPr>
        <p:spPr>
          <a:xfrm>
            <a:off x="8338292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39"/>
          <p:cNvSpPr/>
          <p:nvPr/>
        </p:nvSpPr>
        <p:spPr>
          <a:xfrm flipH="1">
            <a:off x="7010827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bject 68"/>
          <p:cNvSpPr/>
          <p:nvPr/>
        </p:nvSpPr>
        <p:spPr>
          <a:xfrm>
            <a:off x="8129774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Freeform 40"/>
          <p:cNvSpPr/>
          <p:nvPr/>
        </p:nvSpPr>
        <p:spPr>
          <a:xfrm flipH="1">
            <a:off x="2699490" y="2680522"/>
            <a:ext cx="1186709" cy="2052544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bject 28"/>
          <p:cNvSpPr/>
          <p:nvPr/>
        </p:nvSpPr>
        <p:spPr>
          <a:xfrm>
            <a:off x="3870247" y="2489820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Freeform 41"/>
          <p:cNvSpPr/>
          <p:nvPr/>
        </p:nvSpPr>
        <p:spPr>
          <a:xfrm>
            <a:off x="4186411" y="2680522"/>
            <a:ext cx="995190" cy="2573713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037250"/>
      </p:ext>
    </p:extLst>
  </p:cSld>
  <p:clrMapOvr>
    <a:masterClrMapping/>
  </p:clrMapOvr>
  <p:transition spd="med"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object 27"/>
          <p:cNvSpPr/>
          <p:nvPr/>
        </p:nvSpPr>
        <p:spPr>
          <a:xfrm>
            <a:off x="3870247" y="2489822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36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40" name="Freeform 39"/>
          <p:cNvSpPr/>
          <p:nvPr/>
        </p:nvSpPr>
        <p:spPr>
          <a:xfrm>
            <a:off x="8338292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 40"/>
          <p:cNvSpPr/>
          <p:nvPr/>
        </p:nvSpPr>
        <p:spPr>
          <a:xfrm flipH="1">
            <a:off x="7010827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reeform 42"/>
          <p:cNvSpPr/>
          <p:nvPr/>
        </p:nvSpPr>
        <p:spPr>
          <a:xfrm flipH="1">
            <a:off x="2699490" y="2680522"/>
            <a:ext cx="1186709" cy="2052544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Freeform 76"/>
          <p:cNvSpPr/>
          <p:nvPr/>
        </p:nvSpPr>
        <p:spPr>
          <a:xfrm>
            <a:off x="4186411" y="2680522"/>
            <a:ext cx="995190" cy="2573713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68"/>
          <p:cNvSpPr/>
          <p:nvPr/>
        </p:nvSpPr>
        <p:spPr>
          <a:xfrm>
            <a:off x="7990819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24"/>
          <p:cNvSpPr/>
          <p:nvPr/>
        </p:nvSpPr>
        <p:spPr>
          <a:xfrm>
            <a:off x="5172944" y="2712268"/>
            <a:ext cx="5027683" cy="335733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28"/>
          <p:cNvSpPr/>
          <p:nvPr/>
        </p:nvSpPr>
        <p:spPr>
          <a:xfrm>
            <a:off x="3870247" y="2489820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23453111"/>
      </p:ext>
    </p:extLst>
  </p:cSld>
  <p:clrMapOvr>
    <a:masterClrMapping/>
  </p:clrMapOvr>
  <p:transition spd="med"/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45235569"/>
      </p:ext>
    </p:extLst>
  </p:cSld>
  <p:clrMapOvr>
    <a:masterClrMapping/>
  </p:clrMapOvr>
  <p:transition spd="med"/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2719069"/>
      </p:ext>
    </p:extLst>
  </p:cSld>
  <p:clrMapOvr>
    <a:masterClrMapping/>
  </p:clrMapOvr>
  <p:transition spd="med"/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Freeform 83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Freeform 84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88" name="Freeform 87"/>
          <p:cNvSpPr/>
          <p:nvPr/>
        </p:nvSpPr>
        <p:spPr>
          <a:xfrm>
            <a:off x="8338292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Freeform 88"/>
          <p:cNvSpPr/>
          <p:nvPr/>
        </p:nvSpPr>
        <p:spPr>
          <a:xfrm flipH="1">
            <a:off x="7010827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Freeform 89"/>
          <p:cNvSpPr/>
          <p:nvPr/>
        </p:nvSpPr>
        <p:spPr>
          <a:xfrm flipH="1">
            <a:off x="2699489" y="2680522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Freeform 90"/>
          <p:cNvSpPr/>
          <p:nvPr/>
        </p:nvSpPr>
        <p:spPr>
          <a:xfrm>
            <a:off x="4186411" y="2680522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bject 23"/>
          <p:cNvSpPr/>
          <p:nvPr/>
        </p:nvSpPr>
        <p:spPr>
          <a:xfrm>
            <a:off x="6011330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011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27"/>
          <p:cNvSpPr/>
          <p:nvPr/>
        </p:nvSpPr>
        <p:spPr>
          <a:xfrm>
            <a:off x="3870247" y="2489822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92" name="Freeform 91"/>
          <p:cNvSpPr/>
          <p:nvPr/>
        </p:nvSpPr>
        <p:spPr>
          <a:xfrm flipH="1">
            <a:off x="4038600" y="1304661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reeform 92"/>
          <p:cNvSpPr/>
          <p:nvPr/>
        </p:nvSpPr>
        <p:spPr>
          <a:xfrm>
            <a:off x="6332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bject 28"/>
          <p:cNvSpPr/>
          <p:nvPr/>
        </p:nvSpPr>
        <p:spPr>
          <a:xfrm>
            <a:off x="3870247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68"/>
          <p:cNvSpPr/>
          <p:nvPr/>
        </p:nvSpPr>
        <p:spPr>
          <a:xfrm>
            <a:off x="7990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59052803"/>
      </p:ext>
    </p:extLst>
  </p:cSld>
  <p:clrMapOvr>
    <a:masterClrMapping/>
  </p:clrMapOvr>
  <p:transition spd="med"/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8338292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Freeform 48"/>
          <p:cNvSpPr/>
          <p:nvPr/>
        </p:nvSpPr>
        <p:spPr>
          <a:xfrm flipH="1">
            <a:off x="7010827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 flipH="1">
            <a:off x="2699489" y="2680522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reeform 92"/>
          <p:cNvSpPr/>
          <p:nvPr/>
        </p:nvSpPr>
        <p:spPr>
          <a:xfrm>
            <a:off x="4186411" y="2680522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object 23"/>
          <p:cNvSpPr/>
          <p:nvPr/>
        </p:nvSpPr>
        <p:spPr>
          <a:xfrm>
            <a:off x="6011330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24"/>
          <p:cNvSpPr/>
          <p:nvPr/>
        </p:nvSpPr>
        <p:spPr>
          <a:xfrm>
            <a:off x="6011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27"/>
          <p:cNvSpPr/>
          <p:nvPr/>
        </p:nvSpPr>
        <p:spPr>
          <a:xfrm>
            <a:off x="3870247" y="2489822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Freeform 103"/>
          <p:cNvSpPr/>
          <p:nvPr/>
        </p:nvSpPr>
        <p:spPr>
          <a:xfrm flipH="1">
            <a:off x="4038600" y="1304661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Freeform 104"/>
          <p:cNvSpPr/>
          <p:nvPr/>
        </p:nvSpPr>
        <p:spPr>
          <a:xfrm>
            <a:off x="6332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object 28"/>
          <p:cNvSpPr/>
          <p:nvPr/>
        </p:nvSpPr>
        <p:spPr>
          <a:xfrm>
            <a:off x="3870247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8"/>
          <p:cNvSpPr/>
          <p:nvPr/>
        </p:nvSpPr>
        <p:spPr>
          <a:xfrm>
            <a:off x="7990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4"/>
          <p:cNvSpPr/>
          <p:nvPr/>
        </p:nvSpPr>
        <p:spPr>
          <a:xfrm>
            <a:off x="8194396" y="1326012"/>
            <a:ext cx="2006230" cy="174107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88256740"/>
      </p:ext>
    </p:extLst>
  </p:cSld>
  <p:clrMapOvr>
    <a:masterClrMapping/>
  </p:clrMapOvr>
  <p:transition spd="med"/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object 50"/>
          <p:cNvSpPr/>
          <p:nvPr/>
        </p:nvSpPr>
        <p:spPr>
          <a:xfrm>
            <a:off x="1524001" y="3683130"/>
            <a:ext cx="8857851" cy="12469"/>
          </a:xfrm>
          <a:custGeom>
            <a:avLst/>
            <a:gdLst/>
            <a:ahLst/>
            <a:cxnLst/>
            <a:rect l="l" t="t" r="r" b="b"/>
            <a:pathLst>
              <a:path w="8857851" h="12469">
                <a:moveTo>
                  <a:pt x="0" y="12469"/>
                </a:moveTo>
                <a:lnTo>
                  <a:pt x="8857851" y="0"/>
                </a:lnTo>
              </a:path>
            </a:pathLst>
          </a:custGeom>
          <a:ln w="38100">
            <a:solidFill>
              <a:srgbClr val="F69545"/>
            </a:solidFill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cs typeface="Calibri"/>
              </a:rPr>
              <a:t>Criterion: 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Stop at </a:t>
            </a:r>
            <a:r>
              <a:rPr lang="en-US" sz="4800" baseline="1706" dirty="0">
                <a:solidFill>
                  <a:srgbClr val="F69545"/>
                </a:solidFill>
                <a:cs typeface="Calibri"/>
              </a:rPr>
              <a:t>k=3 clusters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!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1524001" y="3624349"/>
            <a:ext cx="9075897" cy="231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1390"/>
              </a:lnSpc>
              <a:spcBef>
                <a:spcPts val="69"/>
              </a:spcBef>
            </a:pPr>
            <a:endParaRPr sz="2800" dirty="0">
              <a:latin typeface="Calibri"/>
              <a:cs typeface="Calibri"/>
            </a:endParaRPr>
          </a:p>
        </p:txBody>
      </p:sp>
      <p:sp>
        <p:nvSpPr>
          <p:cNvPr id="47" name="Freeform 46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 47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53" name="Freeform 52"/>
          <p:cNvSpPr/>
          <p:nvPr/>
        </p:nvSpPr>
        <p:spPr>
          <a:xfrm>
            <a:off x="8338292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 53"/>
          <p:cNvSpPr/>
          <p:nvPr/>
        </p:nvSpPr>
        <p:spPr>
          <a:xfrm flipH="1">
            <a:off x="7010827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 flipH="1">
            <a:off x="2699489" y="2680522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/>
          <p:cNvSpPr/>
          <p:nvPr/>
        </p:nvSpPr>
        <p:spPr>
          <a:xfrm>
            <a:off x="4186411" y="2680522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bject 23"/>
          <p:cNvSpPr/>
          <p:nvPr/>
        </p:nvSpPr>
        <p:spPr>
          <a:xfrm>
            <a:off x="6011330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24"/>
          <p:cNvSpPr/>
          <p:nvPr/>
        </p:nvSpPr>
        <p:spPr>
          <a:xfrm>
            <a:off x="6011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27"/>
          <p:cNvSpPr/>
          <p:nvPr/>
        </p:nvSpPr>
        <p:spPr>
          <a:xfrm>
            <a:off x="3870247" y="2489822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Freeform 66"/>
          <p:cNvSpPr/>
          <p:nvPr/>
        </p:nvSpPr>
        <p:spPr>
          <a:xfrm flipH="1">
            <a:off x="4038600" y="1304661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Freeform 67"/>
          <p:cNvSpPr/>
          <p:nvPr/>
        </p:nvSpPr>
        <p:spPr>
          <a:xfrm>
            <a:off x="6332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bject 28"/>
          <p:cNvSpPr/>
          <p:nvPr/>
        </p:nvSpPr>
        <p:spPr>
          <a:xfrm>
            <a:off x="3870247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68"/>
          <p:cNvSpPr/>
          <p:nvPr/>
        </p:nvSpPr>
        <p:spPr>
          <a:xfrm>
            <a:off x="7990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232486"/>
      </p:ext>
    </p:extLst>
  </p:cSld>
  <p:clrMapOvr>
    <a:masterClrMapping/>
  </p:clrMapOvr>
  <p:transition spd="med"/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object 50"/>
          <p:cNvSpPr/>
          <p:nvPr/>
        </p:nvSpPr>
        <p:spPr>
          <a:xfrm>
            <a:off x="1524001" y="3009902"/>
            <a:ext cx="8629251" cy="231"/>
          </a:xfrm>
          <a:custGeom>
            <a:avLst/>
            <a:gdLst>
              <a:gd name="connsiteX0" fmla="*/ 0 w 8629251"/>
              <a:gd name="connsiteY0" fmla="*/ 0 h 231"/>
              <a:gd name="connsiteX1" fmla="*/ 8629251 w 8629251"/>
              <a:gd name="connsiteY1" fmla="*/ 231 h 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29251" h="231">
                <a:moveTo>
                  <a:pt x="0" y="0"/>
                </a:moveTo>
                <a:lnTo>
                  <a:pt x="8629251" y="231"/>
                </a:lnTo>
              </a:path>
            </a:pathLst>
          </a:custGeom>
          <a:ln w="38100">
            <a:solidFill>
              <a:srgbClr val="F69545"/>
            </a:solidFill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10"/>
          <p:cNvSpPr txBox="1"/>
          <p:nvPr/>
        </p:nvSpPr>
        <p:spPr>
          <a:xfrm>
            <a:off x="3625917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cs typeface="Calibri"/>
              </a:rPr>
              <a:t>Criterion: 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Stop at </a:t>
            </a:r>
            <a:r>
              <a:rPr lang="en-US" sz="4800" baseline="1706" dirty="0" err="1">
                <a:solidFill>
                  <a:srgbClr val="F69545"/>
                </a:solidFill>
                <a:cs typeface="Calibri"/>
              </a:rPr>
              <a:t>dist</a:t>
            </a:r>
            <a:r>
              <a:rPr lang="en-US" sz="4800" baseline="1706" dirty="0">
                <a:solidFill>
                  <a:srgbClr val="F69545"/>
                </a:solidFill>
                <a:cs typeface="Calibri"/>
              </a:rPr>
              <a:t>=3……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!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2895600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 46"/>
          <p:cNvSpPr/>
          <p:nvPr/>
        </p:nvSpPr>
        <p:spPr>
          <a:xfrm flipH="1">
            <a:off x="1975016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bject 5"/>
          <p:cNvSpPr/>
          <p:nvPr/>
        </p:nvSpPr>
        <p:spPr>
          <a:xfrm>
            <a:off x="10200629" y="1036575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"/>
          <p:cNvSpPr txBox="1"/>
          <p:nvPr/>
        </p:nvSpPr>
        <p:spPr>
          <a:xfrm rot="5400000">
            <a:off x="9793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50" name="Freeform 49"/>
          <p:cNvSpPr/>
          <p:nvPr/>
        </p:nvSpPr>
        <p:spPr>
          <a:xfrm>
            <a:off x="8338292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 flipH="1">
            <a:off x="7010827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eform 95"/>
          <p:cNvSpPr/>
          <p:nvPr/>
        </p:nvSpPr>
        <p:spPr>
          <a:xfrm flipH="1">
            <a:off x="2699489" y="2680522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Freeform 96"/>
          <p:cNvSpPr/>
          <p:nvPr/>
        </p:nvSpPr>
        <p:spPr>
          <a:xfrm>
            <a:off x="4186411" y="2680522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bject 23"/>
          <p:cNvSpPr/>
          <p:nvPr/>
        </p:nvSpPr>
        <p:spPr>
          <a:xfrm>
            <a:off x="6011330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6011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7"/>
          <p:cNvSpPr/>
          <p:nvPr/>
        </p:nvSpPr>
        <p:spPr>
          <a:xfrm>
            <a:off x="3870247" y="2489822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"/>
          <p:cNvSpPr/>
          <p:nvPr/>
        </p:nvSpPr>
        <p:spPr>
          <a:xfrm>
            <a:off x="3310879" y="5254237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4"/>
          <p:cNvSpPr/>
          <p:nvPr/>
        </p:nvSpPr>
        <p:spPr>
          <a:xfrm>
            <a:off x="1810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3297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6"/>
          <p:cNvSpPr/>
          <p:nvPr/>
        </p:nvSpPr>
        <p:spPr>
          <a:xfrm>
            <a:off x="5009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8"/>
          <p:cNvSpPr/>
          <p:nvPr/>
        </p:nvSpPr>
        <p:spPr>
          <a:xfrm>
            <a:off x="6900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2"/>
          <p:cNvSpPr/>
          <p:nvPr/>
        </p:nvSpPr>
        <p:spPr>
          <a:xfrm>
            <a:off x="9359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2552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Freeform 107"/>
          <p:cNvSpPr/>
          <p:nvPr/>
        </p:nvSpPr>
        <p:spPr>
          <a:xfrm flipH="1">
            <a:off x="4038600" y="1304661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Freeform 108"/>
          <p:cNvSpPr/>
          <p:nvPr/>
        </p:nvSpPr>
        <p:spPr>
          <a:xfrm>
            <a:off x="6332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bject 28"/>
          <p:cNvSpPr/>
          <p:nvPr/>
        </p:nvSpPr>
        <p:spPr>
          <a:xfrm>
            <a:off x="3870247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8"/>
          <p:cNvSpPr/>
          <p:nvPr/>
        </p:nvSpPr>
        <p:spPr>
          <a:xfrm>
            <a:off x="7990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4"/>
          <p:cNvSpPr/>
          <p:nvPr/>
        </p:nvSpPr>
        <p:spPr>
          <a:xfrm>
            <a:off x="8194396" y="1326012"/>
            <a:ext cx="2006230" cy="174107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33953329"/>
      </p:ext>
    </p:extLst>
  </p:cSld>
  <p:clrMapOvr>
    <a:masterClrMapping/>
  </p:clrMapOvr>
  <p:transition spd="med"/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2128888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baseline="1950" dirty="0">
                <a:solidFill>
                  <a:srgbClr val="7F7E7E"/>
                </a:solidFill>
                <a:latin typeface="+mj-lt"/>
                <a:cs typeface="Calibri"/>
              </a:rPr>
              <a:t>fr</a:t>
            </a:r>
            <a:r>
              <a:rPr sz="4200" b="1" spc="-4" baseline="1950" dirty="0">
                <a:solidFill>
                  <a:srgbClr val="7F7E7E"/>
                </a:solidFill>
                <a:latin typeface="+mj-lt"/>
                <a:cs typeface="Calibri"/>
              </a:rPr>
              <a:t>o</a:t>
            </a:r>
            <a:r>
              <a:rPr sz="4200" b="1" baseline="1950" dirty="0">
                <a:solidFill>
                  <a:srgbClr val="7F7E7E"/>
                </a:solidFill>
                <a:latin typeface="+mj-lt"/>
                <a:cs typeface="Calibri"/>
              </a:rPr>
              <a:t>m </a:t>
            </a:r>
            <a:r>
              <a:rPr sz="4200" baseline="1950" dirty="0">
                <a:solidFill>
                  <a:srgbClr val="4E81BC"/>
                </a:solidFill>
                <a:latin typeface="+mj-lt"/>
                <a:cs typeface="Calibri"/>
              </a:rPr>
              <a:t>sklearn.cluster </a:t>
            </a:r>
            <a:r>
              <a:rPr sz="4200" b="1" baseline="1950" dirty="0">
                <a:solidFill>
                  <a:srgbClr val="7F7E7E"/>
                </a:solidFill>
                <a:latin typeface="+mj-lt"/>
                <a:cs typeface="Calibri"/>
              </a:rPr>
              <a:t>impo</a:t>
            </a:r>
            <a:r>
              <a:rPr sz="4200" b="1" spc="4" baseline="1950" dirty="0">
                <a:solidFill>
                  <a:srgbClr val="7F7E7E"/>
                </a:solidFill>
                <a:latin typeface="+mj-lt"/>
                <a:cs typeface="Calibri"/>
              </a:rPr>
              <a:t>r</a:t>
            </a:r>
            <a:r>
              <a:rPr sz="4200" b="1" baseline="1950" dirty="0">
                <a:solidFill>
                  <a:srgbClr val="7F7E7E"/>
                </a:solidFill>
                <a:latin typeface="+mj-lt"/>
                <a:cs typeface="Calibri"/>
              </a:rPr>
              <a:t>t </a:t>
            </a:r>
            <a:r>
              <a:rPr sz="4200" baseline="1950" dirty="0">
                <a:solidFill>
                  <a:srgbClr val="9BBA58"/>
                </a:solidFill>
                <a:latin typeface="+mj-lt"/>
                <a:cs typeface="Calibri"/>
              </a:rPr>
              <a:t>Agglomera</a:t>
            </a:r>
            <a:r>
              <a:rPr lang="en-US" sz="4200" baseline="1950" dirty="0">
                <a:solidFill>
                  <a:srgbClr val="9BBA58"/>
                </a:solidFill>
                <a:latin typeface="+mj-lt"/>
                <a:cs typeface="Calibri"/>
              </a:rPr>
              <a:t>ti</a:t>
            </a:r>
            <a:r>
              <a:rPr sz="4200" baseline="1950" dirty="0">
                <a:solidFill>
                  <a:srgbClr val="9BBA58"/>
                </a:solidFill>
                <a:latin typeface="+mj-lt"/>
                <a:cs typeface="Calibri"/>
              </a:rPr>
              <a:t>veClustering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128888" y="2235691"/>
            <a:ext cx="6769887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4200" baseline="2925" dirty="0">
                <a:solidFill>
                  <a:srgbClr val="7F7E7E"/>
                </a:solidFill>
                <a:cs typeface="Calibri"/>
              </a:rPr>
              <a:t>Agglomera</a:t>
            </a:r>
            <a:r>
              <a:rPr lang="en-US" sz="4200" baseline="2925" dirty="0">
                <a:solidFill>
                  <a:srgbClr val="7F7E7E"/>
                </a:solidFill>
                <a:cs typeface="Calibri"/>
              </a:rPr>
              <a:t>ti</a:t>
            </a:r>
            <a:r>
              <a:rPr sz="4200" baseline="2925" dirty="0">
                <a:solidFill>
                  <a:srgbClr val="7F7E7E"/>
                </a:solidFill>
                <a:cs typeface="Calibri"/>
              </a:rPr>
              <a:t>veClustering(….,</a:t>
            </a:r>
            <a:endParaRPr sz="2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18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4200" baseline="1950" dirty="0">
                <a:solidFill>
                  <a:srgbClr val="7F7E7E"/>
                </a:solidFill>
                <a:cs typeface="Calibri"/>
              </a:rPr>
              <a:t>linkage = “ward”,</a:t>
            </a:r>
            <a:endParaRPr sz="2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5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4200" baseline="1950" dirty="0">
                <a:solidFill>
                  <a:srgbClr val="7F7E7E"/>
                </a:solidFill>
                <a:cs typeface="Calibri"/>
              </a:rPr>
              <a:t>aﬃnity = “euclidian”,</a:t>
            </a:r>
            <a:endParaRPr sz="2800" dirty="0">
              <a:cs typeface="Calibri"/>
            </a:endParaRPr>
          </a:p>
          <a:p>
            <a:pPr marL="3630929" marR="2616680" algn="ctr">
              <a:lnSpc>
                <a:spcPts val="3365"/>
              </a:lnSpc>
              <a:spcBef>
                <a:spcPts val="3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….)</a:t>
            </a:r>
            <a:endParaRPr sz="28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object 84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86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88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76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73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" name="object 72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" name="object 70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" name="object 68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66"/>
          <p:cNvSpPr/>
          <p:nvPr/>
        </p:nvSpPr>
        <p:spPr>
          <a:xfrm>
            <a:off x="7404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8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6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4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2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0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18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16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497048" y="4421493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67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497048" y="4421493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7899198" y="2581200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8" name="object 18"/>
          <p:cNvSpPr/>
          <p:nvPr/>
        </p:nvSpPr>
        <p:spPr>
          <a:xfrm>
            <a:off x="7899198" y="258120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14"/>
          <p:cNvSpPr txBox="1"/>
          <p:nvPr/>
        </p:nvSpPr>
        <p:spPr>
          <a:xfrm>
            <a:off x="3625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cs typeface="Calibri"/>
              </a:rPr>
              <a:t>K-­Means </a:t>
            </a:r>
            <a:r>
              <a:rPr sz="4800" baseline="1706" dirty="0">
                <a:solidFill>
                  <a:srgbClr val="F69545"/>
                </a:solidFill>
                <a:cs typeface="Calibri"/>
              </a:rPr>
              <a:t>K=2</a:t>
            </a:r>
            <a:endParaRPr sz="3200" dirty="0">
              <a:cs typeface="Calibri"/>
            </a:endParaRPr>
          </a:p>
        </p:txBody>
      </p:sp>
      <p:sp>
        <p:nvSpPr>
          <p:cNvPr id="53" name="object 13"/>
          <p:cNvSpPr txBox="1"/>
          <p:nvPr/>
        </p:nvSpPr>
        <p:spPr>
          <a:xfrm>
            <a:off x="3625916" y="852250"/>
            <a:ext cx="66610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cs typeface="Calibri"/>
              </a:rPr>
              <a:t>Move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 each center to the cluster’s mean</a:t>
            </a:r>
            <a:endParaRPr sz="32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1142097"/>
      </p:ext>
    </p:extLst>
  </p:cSld>
  <p:clrMapOvr>
    <a:masterClrMapping/>
  </p:clrMapOvr>
  <p:transition spd="med"/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2128888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baseline="1950" dirty="0">
                <a:solidFill>
                  <a:srgbClr val="7F7E7E"/>
                </a:solidFill>
                <a:latin typeface="+mj-lt"/>
                <a:cs typeface="Calibri"/>
              </a:rPr>
              <a:t>fr</a:t>
            </a:r>
            <a:r>
              <a:rPr sz="4200" b="1" spc="-4" baseline="1950" dirty="0">
                <a:solidFill>
                  <a:srgbClr val="7F7E7E"/>
                </a:solidFill>
                <a:latin typeface="+mj-lt"/>
                <a:cs typeface="Calibri"/>
              </a:rPr>
              <a:t>o</a:t>
            </a:r>
            <a:r>
              <a:rPr sz="4200" b="1" baseline="1950" dirty="0">
                <a:solidFill>
                  <a:srgbClr val="7F7E7E"/>
                </a:solidFill>
                <a:latin typeface="+mj-lt"/>
                <a:cs typeface="Calibri"/>
              </a:rPr>
              <a:t>m </a:t>
            </a:r>
            <a:r>
              <a:rPr sz="4200" baseline="1950" dirty="0">
                <a:solidFill>
                  <a:srgbClr val="4E81BC"/>
                </a:solidFill>
                <a:latin typeface="+mj-lt"/>
                <a:cs typeface="Calibri"/>
              </a:rPr>
              <a:t>sklearn.cluster </a:t>
            </a:r>
            <a:r>
              <a:rPr sz="4200" b="1" baseline="1950" dirty="0">
                <a:solidFill>
                  <a:srgbClr val="7F7E7E"/>
                </a:solidFill>
                <a:latin typeface="+mj-lt"/>
                <a:cs typeface="Calibri"/>
              </a:rPr>
              <a:t>impo</a:t>
            </a:r>
            <a:r>
              <a:rPr sz="4200" b="1" spc="4" baseline="1950" dirty="0">
                <a:solidFill>
                  <a:srgbClr val="7F7E7E"/>
                </a:solidFill>
                <a:latin typeface="+mj-lt"/>
                <a:cs typeface="Calibri"/>
              </a:rPr>
              <a:t>r</a:t>
            </a:r>
            <a:r>
              <a:rPr sz="4200" b="1" baseline="1950" dirty="0">
                <a:solidFill>
                  <a:srgbClr val="7F7E7E"/>
                </a:solidFill>
                <a:latin typeface="+mj-lt"/>
                <a:cs typeface="Calibri"/>
              </a:rPr>
              <a:t>t </a:t>
            </a:r>
            <a:r>
              <a:rPr sz="4200" baseline="1950" dirty="0">
                <a:solidFill>
                  <a:srgbClr val="9BBA58"/>
                </a:solidFill>
                <a:latin typeface="+mj-lt"/>
                <a:cs typeface="Calibri"/>
              </a:rPr>
              <a:t>Agglomera</a:t>
            </a:r>
            <a:r>
              <a:rPr lang="en-US" sz="4200" baseline="1950" dirty="0">
                <a:solidFill>
                  <a:srgbClr val="9BBA58"/>
                </a:solidFill>
                <a:latin typeface="+mj-lt"/>
                <a:cs typeface="Calibri"/>
              </a:rPr>
              <a:t>tive</a:t>
            </a:r>
            <a:r>
              <a:rPr sz="4200" baseline="1950" dirty="0">
                <a:solidFill>
                  <a:srgbClr val="9BBA58"/>
                </a:solidFill>
                <a:latin typeface="+mj-lt"/>
                <a:cs typeface="Calibri"/>
              </a:rPr>
              <a:t>Clustering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128888" y="2235691"/>
            <a:ext cx="7853313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3800" baseline="2925" dirty="0">
                <a:solidFill>
                  <a:srgbClr val="7F7E7E"/>
                </a:solidFill>
                <a:cs typeface="Calibri"/>
              </a:rPr>
              <a:t>Agglomera</a:t>
            </a:r>
            <a:r>
              <a:rPr lang="en-US" sz="3800" baseline="2925" dirty="0">
                <a:solidFill>
                  <a:srgbClr val="7F7E7E"/>
                </a:solidFill>
                <a:cs typeface="Calibri"/>
              </a:rPr>
              <a:t>ti</a:t>
            </a:r>
            <a:r>
              <a:rPr sz="3800" baseline="2925" dirty="0">
                <a:solidFill>
                  <a:srgbClr val="7F7E7E"/>
                </a:solidFill>
                <a:cs typeface="Calibri"/>
              </a:rPr>
              <a:t>veClustering(….,</a:t>
            </a:r>
            <a:endParaRPr sz="3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18"/>
              </a:spcBef>
            </a:pPr>
            <a:r>
              <a:rPr sz="3800" dirty="0">
                <a:solidFill>
                  <a:srgbClr val="7F7E7E"/>
                </a:solidFill>
                <a:cs typeface="Calibri"/>
              </a:rPr>
              <a:t>….,</a:t>
            </a:r>
            <a:endParaRPr sz="3800" dirty="0"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3800" baseline="1950" dirty="0">
                <a:solidFill>
                  <a:srgbClr val="F69545"/>
                </a:solidFill>
                <a:cs typeface="Calibri"/>
              </a:rPr>
              <a:t>linkage = “ward”</a:t>
            </a:r>
            <a:r>
              <a:rPr sz="3800" baseline="1950" dirty="0">
                <a:solidFill>
                  <a:srgbClr val="7F7E7E"/>
                </a:solidFill>
                <a:cs typeface="Calibri"/>
              </a:rPr>
              <a:t>,</a:t>
            </a:r>
            <a:endParaRPr sz="3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5"/>
              </a:spcBef>
            </a:pPr>
            <a:r>
              <a:rPr sz="3800" dirty="0">
                <a:solidFill>
                  <a:srgbClr val="7F7E7E"/>
                </a:solidFill>
                <a:cs typeface="Calibri"/>
              </a:rPr>
              <a:t>….,</a:t>
            </a:r>
            <a:endParaRPr sz="3800" dirty="0"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3800" baseline="1950" dirty="0">
                <a:solidFill>
                  <a:srgbClr val="7F7E7E"/>
                </a:solidFill>
                <a:cs typeface="Calibri"/>
              </a:rPr>
              <a:t>aﬃnity = “euclidian”,</a:t>
            </a:r>
            <a:endParaRPr sz="3800" dirty="0">
              <a:cs typeface="Calibri"/>
            </a:endParaRPr>
          </a:p>
          <a:p>
            <a:pPr marL="3630929" marR="2616680" algn="ctr">
              <a:lnSpc>
                <a:spcPts val="3365"/>
              </a:lnSpc>
              <a:spcBef>
                <a:spcPts val="3"/>
              </a:spcBef>
            </a:pPr>
            <a:r>
              <a:rPr sz="3800" dirty="0">
                <a:solidFill>
                  <a:srgbClr val="7F7E7E"/>
                </a:solidFill>
                <a:cs typeface="Calibri"/>
              </a:rPr>
              <a:t>….)</a:t>
            </a:r>
            <a:endParaRPr sz="38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2128886" y="533891"/>
            <a:ext cx="7853314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9BBA58"/>
                </a:solidFill>
                <a:latin typeface="+mj-lt"/>
                <a:cs typeface="Calibri"/>
              </a:rPr>
              <a:t>Agglomera</a:t>
            </a:r>
            <a:r>
              <a:rPr lang="en-US" sz="4200" baseline="1950" dirty="0">
                <a:solidFill>
                  <a:srgbClr val="9BBA58"/>
                </a:solidFill>
                <a:latin typeface="+mj-lt"/>
                <a:cs typeface="Calibri"/>
              </a:rPr>
              <a:t>ti</a:t>
            </a:r>
            <a:r>
              <a:rPr sz="4200" baseline="1950" dirty="0">
                <a:solidFill>
                  <a:srgbClr val="9BBA58"/>
                </a:solidFill>
                <a:latin typeface="+mj-lt"/>
                <a:cs typeface="Calibri"/>
              </a:rPr>
              <a:t>ve</a:t>
            </a:r>
            <a:r>
              <a:rPr sz="4200" spc="-217" baseline="1950" dirty="0">
                <a:solidFill>
                  <a:srgbClr val="9BBA58"/>
                </a:solidFill>
                <a:latin typeface="+mj-lt"/>
                <a:cs typeface="Calibri"/>
              </a:rPr>
              <a:t> </a:t>
            </a:r>
            <a:r>
              <a:rPr sz="4200" baseline="1950" dirty="0">
                <a:solidFill>
                  <a:srgbClr val="9BBA58"/>
                </a:solidFill>
                <a:latin typeface="+mj-lt"/>
                <a:cs typeface="Calibri"/>
              </a:rPr>
              <a:t>Clustering</a:t>
            </a:r>
            <a:r>
              <a:rPr lang="en-US" sz="4200" baseline="1950" dirty="0">
                <a:solidFill>
                  <a:srgbClr val="9BBA58"/>
                </a:solidFill>
                <a:latin typeface="+mj-lt"/>
                <a:cs typeface="Calibri"/>
              </a:rPr>
              <a:t> </a:t>
            </a:r>
            <a:r>
              <a:rPr lang="en-US" sz="4200" baseline="2925" dirty="0">
                <a:solidFill>
                  <a:srgbClr val="F69545"/>
                </a:solidFill>
                <a:latin typeface="+mj-lt"/>
                <a:cs typeface="Calibri"/>
              </a:rPr>
              <a:t>linkage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5715000" y="914892"/>
            <a:ext cx="4177790" cy="768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indent="66662">
              <a:lnSpc>
                <a:spcPct val="104166"/>
              </a:lnSpc>
              <a:spcBef>
                <a:spcPts val="108"/>
              </a:spcBef>
            </a:pPr>
            <a:r>
              <a:rPr sz="2400" dirty="0">
                <a:solidFill>
                  <a:srgbClr val="7F7E7E"/>
                </a:solidFill>
                <a:latin typeface="Calibri"/>
                <a:cs typeface="Calibri"/>
              </a:rPr>
              <a:t>Which clusters to merge next. Deﬁni</a:t>
            </a:r>
            <a:r>
              <a:rPr lang="en-US" sz="2400" dirty="0">
                <a:solidFill>
                  <a:srgbClr val="7F7E7E"/>
                </a:solidFill>
                <a:latin typeface="Calibri"/>
                <a:cs typeface="Calibri"/>
              </a:rPr>
              <a:t>ti</a:t>
            </a:r>
            <a:r>
              <a:rPr sz="2400" dirty="0">
                <a:solidFill>
                  <a:srgbClr val="7F7E7E"/>
                </a:solidFill>
                <a:latin typeface="Calibri"/>
                <a:cs typeface="Calibri"/>
              </a:rPr>
              <a:t>on</a:t>
            </a:r>
            <a:r>
              <a:rPr sz="2400" spc="-181" dirty="0">
                <a:solidFill>
                  <a:srgbClr val="7F7E7E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7F7E7E"/>
                </a:solidFill>
                <a:latin typeface="Calibri"/>
                <a:cs typeface="Calibri"/>
              </a:rPr>
              <a:t>of “shortest distance”</a:t>
            </a:r>
            <a:endParaRPr lang="en-US" sz="2400" dirty="0">
              <a:solidFill>
                <a:srgbClr val="7F7E7E"/>
              </a:solidFill>
              <a:latin typeface="Calibri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object 3"/>
          <p:cNvSpPr txBox="1"/>
          <p:nvPr/>
        </p:nvSpPr>
        <p:spPr>
          <a:xfrm>
            <a:off x="2128888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5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latin typeface="+mj-lt"/>
              <a:cs typeface="Calibri"/>
            </a:endParaRPr>
          </a:p>
        </p:txBody>
      </p:sp>
      <p:sp>
        <p:nvSpPr>
          <p:cNvPr id="160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94" name="Group 193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9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9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object 70"/>
          <p:cNvSpPr/>
          <p:nvPr/>
        </p:nvSpPr>
        <p:spPr>
          <a:xfrm>
            <a:off x="7350520" y="3380261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3"/>
          <p:cNvSpPr txBox="1"/>
          <p:nvPr/>
        </p:nvSpPr>
        <p:spPr>
          <a:xfrm>
            <a:off x="2128888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8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9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object 56"/>
          <p:cNvSpPr/>
          <p:nvPr/>
        </p:nvSpPr>
        <p:spPr>
          <a:xfrm>
            <a:off x="5451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3"/>
          <p:cNvSpPr txBox="1"/>
          <p:nvPr/>
        </p:nvSpPr>
        <p:spPr>
          <a:xfrm>
            <a:off x="2128888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2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3" name="object 70"/>
          <p:cNvSpPr/>
          <p:nvPr/>
        </p:nvSpPr>
        <p:spPr>
          <a:xfrm>
            <a:off x="7350520" y="3380261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2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40"/>
          <p:cNvSpPr/>
          <p:nvPr/>
        </p:nvSpPr>
        <p:spPr>
          <a:xfrm>
            <a:off x="5590245" y="5257010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6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7" name="object 56"/>
          <p:cNvSpPr/>
          <p:nvPr/>
        </p:nvSpPr>
        <p:spPr>
          <a:xfrm>
            <a:off x="5451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9" name="object 70"/>
          <p:cNvSpPr/>
          <p:nvPr/>
        </p:nvSpPr>
        <p:spPr>
          <a:xfrm>
            <a:off x="7350520" y="3380261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bject 82"/>
          <p:cNvSpPr/>
          <p:nvPr/>
        </p:nvSpPr>
        <p:spPr>
          <a:xfrm>
            <a:off x="6707064" y="4109351"/>
            <a:ext cx="995205" cy="85877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0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1" name="object 40"/>
          <p:cNvSpPr/>
          <p:nvPr/>
        </p:nvSpPr>
        <p:spPr>
          <a:xfrm>
            <a:off x="5590245" y="5257010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3" name="object 56"/>
          <p:cNvSpPr/>
          <p:nvPr/>
        </p:nvSpPr>
        <p:spPr>
          <a:xfrm>
            <a:off x="5451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5" name="object 70"/>
          <p:cNvSpPr/>
          <p:nvPr/>
        </p:nvSpPr>
        <p:spPr>
          <a:xfrm>
            <a:off x="7350520" y="3380261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0" name="Group 139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4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4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5" name="object 82"/>
          <p:cNvSpPr/>
          <p:nvPr/>
        </p:nvSpPr>
        <p:spPr>
          <a:xfrm>
            <a:off x="6707064" y="4109351"/>
            <a:ext cx="995205" cy="85877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590245" y="5257010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8" name="object 56"/>
          <p:cNvSpPr/>
          <p:nvPr/>
        </p:nvSpPr>
        <p:spPr>
          <a:xfrm>
            <a:off x="5451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0" name="object 70"/>
          <p:cNvSpPr/>
          <p:nvPr/>
        </p:nvSpPr>
        <p:spPr>
          <a:xfrm>
            <a:off x="7350520" y="3380261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5" name="Group 144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4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8" name="object 82"/>
          <p:cNvSpPr/>
          <p:nvPr/>
        </p:nvSpPr>
        <p:spPr>
          <a:xfrm>
            <a:off x="6548693" y="4047240"/>
            <a:ext cx="145336" cy="862298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9" name="object 13"/>
          <p:cNvSpPr txBox="1"/>
          <p:nvPr/>
        </p:nvSpPr>
        <p:spPr>
          <a:xfrm>
            <a:off x="2128887" y="999753"/>
            <a:ext cx="8234313" cy="83227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F69545"/>
                </a:solidFill>
                <a:cs typeface="Calibri"/>
              </a:rPr>
              <a:t>Fast. Can from long chains instead of </a:t>
            </a: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dirty="0">
                <a:solidFill>
                  <a:srgbClr val="F69545"/>
                </a:solidFill>
                <a:cs typeface="Calibri"/>
              </a:rPr>
              <a:t> </a:t>
            </a:r>
            <a:r>
              <a:rPr lang="en-US" sz="4200" baseline="1950" dirty="0">
                <a:solidFill>
                  <a:srgbClr val="F69545"/>
                </a:solidFill>
                <a:cs typeface="Calibri"/>
              </a:rPr>
              <a:t>clusters.</a:t>
            </a:r>
            <a:endParaRPr lang="en-US" sz="2800" dirty="0">
              <a:cs typeface="Calibri"/>
            </a:endParaRPr>
          </a:p>
        </p:txBody>
      </p:sp>
      <p:sp>
        <p:nvSpPr>
          <p:cNvPr id="110" name="object 82"/>
          <p:cNvSpPr/>
          <p:nvPr/>
        </p:nvSpPr>
        <p:spPr>
          <a:xfrm>
            <a:off x="6707064" y="4109351"/>
            <a:ext cx="995205" cy="85877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590245" y="5257010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3" name="object 56"/>
          <p:cNvSpPr/>
          <p:nvPr/>
        </p:nvSpPr>
        <p:spPr>
          <a:xfrm>
            <a:off x="5451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5" name="object 70"/>
          <p:cNvSpPr/>
          <p:nvPr/>
        </p:nvSpPr>
        <p:spPr>
          <a:xfrm>
            <a:off x="7350520" y="3380261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50" name="Group 149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5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5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53" name="object 82"/>
          <p:cNvSpPr/>
          <p:nvPr/>
        </p:nvSpPr>
        <p:spPr>
          <a:xfrm>
            <a:off x="6548693" y="4047240"/>
            <a:ext cx="145336" cy="862298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82"/>
          <p:cNvSpPr/>
          <p:nvPr/>
        </p:nvSpPr>
        <p:spPr>
          <a:xfrm>
            <a:off x="5834469" y="4005005"/>
            <a:ext cx="1839009" cy="59701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4" name="object 13"/>
          <p:cNvSpPr txBox="1"/>
          <p:nvPr/>
        </p:nvSpPr>
        <p:spPr>
          <a:xfrm>
            <a:off x="2128887" y="999752"/>
            <a:ext cx="8234313" cy="8914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s is the max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7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9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1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object 84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86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88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6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3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72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70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8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6"/>
          <p:cNvSpPr/>
          <p:nvPr/>
        </p:nvSpPr>
        <p:spPr>
          <a:xfrm>
            <a:off x="7404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28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26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24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22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20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8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6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497048" y="4421493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899198" y="258120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497048" y="4421493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7899198" y="2581200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59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13"/>
          <p:cNvSpPr txBox="1"/>
          <p:nvPr/>
        </p:nvSpPr>
        <p:spPr>
          <a:xfrm>
            <a:off x="3625916" y="369650"/>
            <a:ext cx="6280085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K-­Means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52" name="object 12"/>
          <p:cNvSpPr txBox="1"/>
          <p:nvPr/>
        </p:nvSpPr>
        <p:spPr>
          <a:xfrm>
            <a:off x="3625916" y="852250"/>
            <a:ext cx="6280085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Each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point belongs to closest center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7116453"/>
      </p:ext>
    </p:extLst>
  </p:cSld>
  <p:clrMapOvr>
    <a:masterClrMapping/>
  </p:clrMapOvr>
  <p:transition spd="med"/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8" name="object 13"/>
          <p:cNvSpPr txBox="1"/>
          <p:nvPr/>
        </p:nvSpPr>
        <p:spPr>
          <a:xfrm>
            <a:off x="2128887" y="999752"/>
            <a:ext cx="8234313" cy="8914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1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3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5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82"/>
          <p:cNvSpPr/>
          <p:nvPr/>
        </p:nvSpPr>
        <p:spPr>
          <a:xfrm flipV="1">
            <a:off x="6296976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3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4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5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2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1" name="object 82"/>
          <p:cNvSpPr/>
          <p:nvPr/>
        </p:nvSpPr>
        <p:spPr>
          <a:xfrm flipV="1">
            <a:off x="6296976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82"/>
          <p:cNvSpPr/>
          <p:nvPr/>
        </p:nvSpPr>
        <p:spPr>
          <a:xfrm rot="16200000" flipV="1">
            <a:off x="3256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13"/>
          <p:cNvSpPr txBox="1"/>
          <p:nvPr/>
        </p:nvSpPr>
        <p:spPr>
          <a:xfrm>
            <a:off x="2128887" y="999752"/>
            <a:ext cx="8234313" cy="8914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7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8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9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3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5" name="object 82"/>
          <p:cNvSpPr/>
          <p:nvPr/>
        </p:nvSpPr>
        <p:spPr>
          <a:xfrm flipV="1">
            <a:off x="6296976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82"/>
          <p:cNvSpPr/>
          <p:nvPr/>
        </p:nvSpPr>
        <p:spPr>
          <a:xfrm rot="16200000" flipV="1">
            <a:off x="3256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82"/>
          <p:cNvSpPr/>
          <p:nvPr/>
        </p:nvSpPr>
        <p:spPr>
          <a:xfrm rot="10800000" flipV="1">
            <a:off x="4599729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13"/>
          <p:cNvSpPr txBox="1"/>
          <p:nvPr/>
        </p:nvSpPr>
        <p:spPr>
          <a:xfrm>
            <a:off x="2128887" y="999752"/>
            <a:ext cx="8234313" cy="8914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1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2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3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3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9" name="object 82"/>
          <p:cNvSpPr/>
          <p:nvPr/>
        </p:nvSpPr>
        <p:spPr>
          <a:xfrm flipV="1">
            <a:off x="6296976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82"/>
          <p:cNvSpPr/>
          <p:nvPr/>
        </p:nvSpPr>
        <p:spPr>
          <a:xfrm rot="16200000" flipV="1">
            <a:off x="3256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82"/>
          <p:cNvSpPr/>
          <p:nvPr/>
        </p:nvSpPr>
        <p:spPr>
          <a:xfrm rot="10800000" flipV="1">
            <a:off x="4599729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82"/>
          <p:cNvSpPr/>
          <p:nvPr/>
        </p:nvSpPr>
        <p:spPr>
          <a:xfrm rot="16200000" flipV="1">
            <a:off x="4958105" y="2783238"/>
            <a:ext cx="3573857" cy="2572351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13"/>
          <p:cNvSpPr txBox="1"/>
          <p:nvPr/>
        </p:nvSpPr>
        <p:spPr>
          <a:xfrm>
            <a:off x="2128887" y="999752"/>
            <a:ext cx="8234313" cy="8914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5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6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7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0" name="Group 139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4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3" name="object 82"/>
          <p:cNvSpPr/>
          <p:nvPr/>
        </p:nvSpPr>
        <p:spPr>
          <a:xfrm flipV="1">
            <a:off x="6296976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82"/>
          <p:cNvSpPr/>
          <p:nvPr/>
        </p:nvSpPr>
        <p:spPr>
          <a:xfrm rot="16200000" flipV="1">
            <a:off x="3256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82"/>
          <p:cNvSpPr/>
          <p:nvPr/>
        </p:nvSpPr>
        <p:spPr>
          <a:xfrm rot="10800000" flipV="1">
            <a:off x="4599729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82"/>
          <p:cNvSpPr/>
          <p:nvPr/>
        </p:nvSpPr>
        <p:spPr>
          <a:xfrm rot="16200000" flipV="1">
            <a:off x="4958105" y="2783238"/>
            <a:ext cx="3573857" cy="2572351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82"/>
          <p:cNvSpPr/>
          <p:nvPr/>
        </p:nvSpPr>
        <p:spPr>
          <a:xfrm rot="16200000">
            <a:off x="4516117" y="4068268"/>
            <a:ext cx="3429617" cy="169885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13"/>
          <p:cNvSpPr txBox="1"/>
          <p:nvPr/>
        </p:nvSpPr>
        <p:spPr>
          <a:xfrm>
            <a:off x="2128887" y="999752"/>
            <a:ext cx="8234313" cy="8914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6" name="object 13"/>
          <p:cNvSpPr txBox="1"/>
          <p:nvPr/>
        </p:nvSpPr>
        <p:spPr>
          <a:xfrm>
            <a:off x="2128887" y="999752"/>
            <a:ext cx="8234313" cy="42832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Fast. No chains. Sensitive</a:t>
            </a:r>
            <a:r>
              <a:rPr lang="en-US" sz="4200" dirty="0">
                <a:solidFill>
                  <a:srgbClr val="F69545"/>
                </a:solidFill>
                <a:latin typeface="+mj-lt"/>
                <a:cs typeface="Calibri"/>
              </a:rPr>
              <a:t> </a:t>
            </a: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to outliers.</a:t>
            </a:r>
            <a:endParaRPr lang="en-US" sz="2800" dirty="0">
              <a:latin typeface="+mj-lt"/>
              <a:cs typeface="Calibri"/>
            </a:endParaRPr>
          </a:p>
        </p:txBody>
      </p:sp>
      <p:sp>
        <p:nvSpPr>
          <p:cNvPr id="107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8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9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2" name="Group 141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4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5" name="object 82"/>
          <p:cNvSpPr/>
          <p:nvPr/>
        </p:nvSpPr>
        <p:spPr>
          <a:xfrm flipV="1">
            <a:off x="6296976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82"/>
          <p:cNvSpPr/>
          <p:nvPr/>
        </p:nvSpPr>
        <p:spPr>
          <a:xfrm rot="16200000" flipV="1">
            <a:off x="3256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82"/>
          <p:cNvSpPr/>
          <p:nvPr/>
        </p:nvSpPr>
        <p:spPr>
          <a:xfrm rot="10800000" flipV="1">
            <a:off x="4599729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82"/>
          <p:cNvSpPr/>
          <p:nvPr/>
        </p:nvSpPr>
        <p:spPr>
          <a:xfrm rot="16200000" flipV="1">
            <a:off x="4958105" y="2783238"/>
            <a:ext cx="3573857" cy="2572351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82"/>
          <p:cNvSpPr/>
          <p:nvPr/>
        </p:nvSpPr>
        <p:spPr>
          <a:xfrm rot="16200000">
            <a:off x="4516117" y="4068268"/>
            <a:ext cx="3429617" cy="169885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82"/>
          <p:cNvSpPr/>
          <p:nvPr/>
        </p:nvSpPr>
        <p:spPr>
          <a:xfrm rot="16200000" flipV="1">
            <a:off x="4269623" y="1821169"/>
            <a:ext cx="3244205" cy="4278965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4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5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6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8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0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89" name="object 70"/>
          <p:cNvSpPr/>
          <p:nvPr/>
        </p:nvSpPr>
        <p:spPr>
          <a:xfrm>
            <a:off x="6383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2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3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6" name="Group 125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2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9" name="object 70"/>
          <p:cNvSpPr/>
          <p:nvPr/>
        </p:nvSpPr>
        <p:spPr>
          <a:xfrm>
            <a:off x="6383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0"/>
          <p:cNvSpPr/>
          <p:nvPr/>
        </p:nvSpPr>
        <p:spPr>
          <a:xfrm>
            <a:off x="4650876" y="3174268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6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7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70"/>
          <p:cNvSpPr/>
          <p:nvPr/>
        </p:nvSpPr>
        <p:spPr>
          <a:xfrm>
            <a:off x="6383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70"/>
          <p:cNvSpPr/>
          <p:nvPr/>
        </p:nvSpPr>
        <p:spPr>
          <a:xfrm>
            <a:off x="4650876" y="3174268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70"/>
          <p:cNvSpPr/>
          <p:nvPr/>
        </p:nvSpPr>
        <p:spPr>
          <a:xfrm flipV="1">
            <a:off x="4642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object 84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8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6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3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2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0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8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6"/>
          <p:cNvSpPr/>
          <p:nvPr/>
        </p:nvSpPr>
        <p:spPr>
          <a:xfrm>
            <a:off x="7404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6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779632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891861" y="466281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67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891861" y="4662812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7779632" y="2582756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14"/>
          <p:cNvSpPr txBox="1"/>
          <p:nvPr/>
        </p:nvSpPr>
        <p:spPr>
          <a:xfrm>
            <a:off x="3625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K­‐Means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53" name="object 13"/>
          <p:cNvSpPr txBox="1"/>
          <p:nvPr/>
        </p:nvSpPr>
        <p:spPr>
          <a:xfrm>
            <a:off x="3625916" y="852250"/>
            <a:ext cx="66610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7F7E7E"/>
                </a:solidFill>
                <a:latin typeface="+mj-lt"/>
                <a:cs typeface="Calibri"/>
              </a:rPr>
              <a:t>Move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each center to the cluster’s mean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2526448"/>
      </p:ext>
    </p:extLst>
  </p:cSld>
  <p:clrMapOvr>
    <a:masterClrMapping/>
  </p:clrMapOvr>
  <p:transition spd="med"/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0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1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7" name="object 70"/>
          <p:cNvSpPr/>
          <p:nvPr/>
        </p:nvSpPr>
        <p:spPr>
          <a:xfrm>
            <a:off x="6383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70"/>
          <p:cNvSpPr/>
          <p:nvPr/>
        </p:nvSpPr>
        <p:spPr>
          <a:xfrm>
            <a:off x="4650876" y="3174268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70"/>
          <p:cNvSpPr/>
          <p:nvPr/>
        </p:nvSpPr>
        <p:spPr>
          <a:xfrm flipV="1">
            <a:off x="4642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70"/>
          <p:cNvSpPr/>
          <p:nvPr/>
        </p:nvSpPr>
        <p:spPr>
          <a:xfrm>
            <a:off x="6370800" y="3048001"/>
            <a:ext cx="1757201" cy="2664387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bject 3"/>
          <p:cNvSpPr txBox="1"/>
          <p:nvPr/>
        </p:nvSpPr>
        <p:spPr>
          <a:xfrm>
            <a:off x="2128887" y="533891"/>
            <a:ext cx="8234312" cy="4169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4" name="object 13"/>
          <p:cNvSpPr txBox="1"/>
          <p:nvPr/>
        </p:nvSpPr>
        <p:spPr>
          <a:xfrm>
            <a:off x="2128887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1706" dirty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5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8" name="Group 137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3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1" name="object 70"/>
          <p:cNvSpPr/>
          <p:nvPr/>
        </p:nvSpPr>
        <p:spPr>
          <a:xfrm>
            <a:off x="6383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70"/>
          <p:cNvSpPr/>
          <p:nvPr/>
        </p:nvSpPr>
        <p:spPr>
          <a:xfrm>
            <a:off x="4650876" y="3174268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70"/>
          <p:cNvSpPr/>
          <p:nvPr/>
        </p:nvSpPr>
        <p:spPr>
          <a:xfrm flipV="1">
            <a:off x="4642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70"/>
          <p:cNvSpPr/>
          <p:nvPr/>
        </p:nvSpPr>
        <p:spPr>
          <a:xfrm>
            <a:off x="6370800" y="3048001"/>
            <a:ext cx="1757201" cy="2664387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70"/>
          <p:cNvSpPr/>
          <p:nvPr/>
        </p:nvSpPr>
        <p:spPr>
          <a:xfrm>
            <a:off x="6374898" y="3306737"/>
            <a:ext cx="62071" cy="2276399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8" name="object 13"/>
          <p:cNvSpPr txBox="1"/>
          <p:nvPr/>
        </p:nvSpPr>
        <p:spPr>
          <a:xfrm>
            <a:off x="2128887" y="999752"/>
            <a:ext cx="8234313" cy="42832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Slower. No chains. Not</a:t>
            </a:r>
            <a:r>
              <a:rPr lang="en-US" sz="4200" dirty="0">
                <a:solidFill>
                  <a:srgbClr val="F69545"/>
                </a:solidFill>
                <a:latin typeface="+mj-lt"/>
                <a:cs typeface="Calibri"/>
              </a:rPr>
              <a:t> </a:t>
            </a: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sensitive to outliers.</a:t>
            </a:r>
            <a:endParaRPr lang="en-US" sz="2800" dirty="0">
              <a:latin typeface="+mj-lt"/>
              <a:cs typeface="Calibri"/>
            </a:endParaRPr>
          </a:p>
        </p:txBody>
      </p:sp>
      <p:sp>
        <p:nvSpPr>
          <p:cNvPr id="107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4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4" name="object 70"/>
          <p:cNvSpPr/>
          <p:nvPr/>
        </p:nvSpPr>
        <p:spPr>
          <a:xfrm>
            <a:off x="6383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70"/>
          <p:cNvSpPr/>
          <p:nvPr/>
        </p:nvSpPr>
        <p:spPr>
          <a:xfrm>
            <a:off x="4650876" y="3174268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70"/>
          <p:cNvSpPr/>
          <p:nvPr/>
        </p:nvSpPr>
        <p:spPr>
          <a:xfrm flipV="1">
            <a:off x="4642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70"/>
          <p:cNvSpPr/>
          <p:nvPr/>
        </p:nvSpPr>
        <p:spPr>
          <a:xfrm>
            <a:off x="6370800" y="3048001"/>
            <a:ext cx="1757201" cy="2664387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70"/>
          <p:cNvSpPr/>
          <p:nvPr/>
        </p:nvSpPr>
        <p:spPr>
          <a:xfrm>
            <a:off x="6374898" y="3306737"/>
            <a:ext cx="62071" cy="2276399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70"/>
          <p:cNvSpPr/>
          <p:nvPr/>
        </p:nvSpPr>
        <p:spPr>
          <a:xfrm>
            <a:off x="4917969" y="3048000"/>
            <a:ext cx="3076238" cy="180604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ward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5" name="object 13"/>
          <p:cNvSpPr txBox="1"/>
          <p:nvPr/>
        </p:nvSpPr>
        <p:spPr>
          <a:xfrm>
            <a:off x="2128887" y="999752"/>
            <a:ext cx="8234313" cy="9308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2925" dirty="0">
                <a:solidFill>
                  <a:srgbClr val="7F7E7E"/>
                </a:solidFill>
                <a:cs typeface="Calibri"/>
              </a:rPr>
              <a:t>Don’t merge </a:t>
            </a: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based on distance. Merge the two whose</a:t>
            </a:r>
            <a:endParaRPr lang="en-US" sz="280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2925" dirty="0">
                <a:solidFill>
                  <a:srgbClr val="7F7E7E"/>
                </a:solidFill>
                <a:cs typeface="Calibri"/>
              </a:rPr>
              <a:t>combination will give the best score (lowest inertia).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6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5686426" y="1857375"/>
            <a:ext cx="3533775" cy="2628900"/>
          </a:xfrm>
          <a:custGeom>
            <a:avLst/>
            <a:gdLst>
              <a:gd name="connsiteX0" fmla="*/ 76200 w 3533775"/>
              <a:gd name="connsiteY0" fmla="*/ 333375 h 2628900"/>
              <a:gd name="connsiteX1" fmla="*/ 247650 w 3533775"/>
              <a:gd name="connsiteY1" fmla="*/ 171450 h 2628900"/>
              <a:gd name="connsiteX2" fmla="*/ 581025 w 3533775"/>
              <a:gd name="connsiteY2" fmla="*/ 28575 h 2628900"/>
              <a:gd name="connsiteX3" fmla="*/ 1143000 w 3533775"/>
              <a:gd name="connsiteY3" fmla="*/ 57150 h 2628900"/>
              <a:gd name="connsiteX4" fmla="*/ 1447800 w 3533775"/>
              <a:gd name="connsiteY4" fmla="*/ 0 h 2628900"/>
              <a:gd name="connsiteX5" fmla="*/ 1885950 w 3533775"/>
              <a:gd name="connsiteY5" fmla="*/ 19050 h 2628900"/>
              <a:gd name="connsiteX6" fmla="*/ 2695575 w 3533775"/>
              <a:gd name="connsiteY6" fmla="*/ 19050 h 2628900"/>
              <a:gd name="connsiteX7" fmla="*/ 3133725 w 3533775"/>
              <a:gd name="connsiteY7" fmla="*/ 171450 h 2628900"/>
              <a:gd name="connsiteX8" fmla="*/ 3343275 w 3533775"/>
              <a:gd name="connsiteY8" fmla="*/ 571500 h 2628900"/>
              <a:gd name="connsiteX9" fmla="*/ 3457575 w 3533775"/>
              <a:gd name="connsiteY9" fmla="*/ 866775 h 2628900"/>
              <a:gd name="connsiteX10" fmla="*/ 3533775 w 3533775"/>
              <a:gd name="connsiteY10" fmla="*/ 1314450 h 2628900"/>
              <a:gd name="connsiteX11" fmla="*/ 3438525 w 3533775"/>
              <a:gd name="connsiteY11" fmla="*/ 1952625 h 2628900"/>
              <a:gd name="connsiteX12" fmla="*/ 3333750 w 3533775"/>
              <a:gd name="connsiteY12" fmla="*/ 2257425 h 2628900"/>
              <a:gd name="connsiteX13" fmla="*/ 3209925 w 3533775"/>
              <a:gd name="connsiteY13" fmla="*/ 2466975 h 2628900"/>
              <a:gd name="connsiteX14" fmla="*/ 2838450 w 3533775"/>
              <a:gd name="connsiteY14" fmla="*/ 2562225 h 2628900"/>
              <a:gd name="connsiteX15" fmla="*/ 1885950 w 3533775"/>
              <a:gd name="connsiteY15" fmla="*/ 2590800 h 2628900"/>
              <a:gd name="connsiteX16" fmla="*/ 1781175 w 3533775"/>
              <a:gd name="connsiteY16" fmla="*/ 2600325 h 2628900"/>
              <a:gd name="connsiteX17" fmla="*/ 1581150 w 3533775"/>
              <a:gd name="connsiteY17" fmla="*/ 2628900 h 2628900"/>
              <a:gd name="connsiteX18" fmla="*/ 1447800 w 3533775"/>
              <a:gd name="connsiteY18" fmla="*/ 2628900 h 2628900"/>
              <a:gd name="connsiteX19" fmla="*/ 866775 w 3533775"/>
              <a:gd name="connsiteY19" fmla="*/ 2428875 h 2628900"/>
              <a:gd name="connsiteX20" fmla="*/ 752475 w 3533775"/>
              <a:gd name="connsiteY20" fmla="*/ 2352675 h 2628900"/>
              <a:gd name="connsiteX21" fmla="*/ 466725 w 3533775"/>
              <a:gd name="connsiteY21" fmla="*/ 2124075 h 2628900"/>
              <a:gd name="connsiteX22" fmla="*/ 247650 w 3533775"/>
              <a:gd name="connsiteY22" fmla="*/ 1857375 h 2628900"/>
              <a:gd name="connsiteX23" fmla="*/ 161925 w 3533775"/>
              <a:gd name="connsiteY23" fmla="*/ 1581150 h 2628900"/>
              <a:gd name="connsiteX24" fmla="*/ 76200 w 3533775"/>
              <a:gd name="connsiteY24" fmla="*/ 1247775 h 2628900"/>
              <a:gd name="connsiteX25" fmla="*/ 0 w 3533775"/>
              <a:gd name="connsiteY25" fmla="*/ 942975 h 2628900"/>
              <a:gd name="connsiteX26" fmla="*/ 0 w 3533775"/>
              <a:gd name="connsiteY26" fmla="*/ 647700 h 2628900"/>
              <a:gd name="connsiteX27" fmla="*/ 95250 w 3533775"/>
              <a:gd name="connsiteY27" fmla="*/ 28575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533775" h="2628900">
                <a:moveTo>
                  <a:pt x="76200" y="333375"/>
                </a:moveTo>
                <a:lnTo>
                  <a:pt x="247650" y="171450"/>
                </a:lnTo>
                <a:lnTo>
                  <a:pt x="581025" y="28575"/>
                </a:lnTo>
                <a:lnTo>
                  <a:pt x="1143000" y="57150"/>
                </a:lnTo>
                <a:lnTo>
                  <a:pt x="1447800" y="0"/>
                </a:lnTo>
                <a:lnTo>
                  <a:pt x="1885950" y="19050"/>
                </a:lnTo>
                <a:lnTo>
                  <a:pt x="2695575" y="19050"/>
                </a:lnTo>
                <a:lnTo>
                  <a:pt x="3133725" y="171450"/>
                </a:lnTo>
                <a:lnTo>
                  <a:pt x="3343275" y="571500"/>
                </a:lnTo>
                <a:lnTo>
                  <a:pt x="3457575" y="866775"/>
                </a:lnTo>
                <a:lnTo>
                  <a:pt x="3533775" y="1314450"/>
                </a:lnTo>
                <a:lnTo>
                  <a:pt x="3438525" y="1952625"/>
                </a:lnTo>
                <a:lnTo>
                  <a:pt x="3333750" y="2257425"/>
                </a:lnTo>
                <a:lnTo>
                  <a:pt x="3209925" y="2466975"/>
                </a:lnTo>
                <a:lnTo>
                  <a:pt x="2838450" y="2562225"/>
                </a:lnTo>
                <a:lnTo>
                  <a:pt x="1885950" y="2590800"/>
                </a:lnTo>
                <a:lnTo>
                  <a:pt x="1781175" y="2600325"/>
                </a:lnTo>
                <a:lnTo>
                  <a:pt x="1581150" y="2628900"/>
                </a:lnTo>
                <a:lnTo>
                  <a:pt x="1447800" y="2628900"/>
                </a:lnTo>
                <a:lnTo>
                  <a:pt x="866775" y="2428875"/>
                </a:lnTo>
                <a:cubicBezTo>
                  <a:pt x="765709" y="2358129"/>
                  <a:pt x="806189" y="2379532"/>
                  <a:pt x="752475" y="2352675"/>
                </a:cubicBezTo>
                <a:lnTo>
                  <a:pt x="466725" y="2124075"/>
                </a:lnTo>
                <a:lnTo>
                  <a:pt x="247650" y="1857375"/>
                </a:lnTo>
                <a:lnTo>
                  <a:pt x="161925" y="1581150"/>
                </a:lnTo>
                <a:lnTo>
                  <a:pt x="76200" y="1247775"/>
                </a:lnTo>
                <a:lnTo>
                  <a:pt x="0" y="942975"/>
                </a:lnTo>
                <a:lnTo>
                  <a:pt x="0" y="647700"/>
                </a:lnTo>
                <a:lnTo>
                  <a:pt x="95250" y="285750"/>
                </a:lnTo>
              </a:path>
            </a:pathLst>
          </a:custGeom>
          <a:noFill/>
          <a:ln w="28575">
            <a:solidFill>
              <a:srgbClr val="F69545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bject 3"/>
          <p:cNvSpPr txBox="1"/>
          <p:nvPr/>
        </p:nvSpPr>
        <p:spPr>
          <a:xfrm>
            <a:off x="2128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linkage = “ward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6" name="object 13"/>
          <p:cNvSpPr txBox="1"/>
          <p:nvPr/>
        </p:nvSpPr>
        <p:spPr>
          <a:xfrm>
            <a:off x="2128887" y="999752"/>
            <a:ext cx="8234313" cy="8154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This will choose the merge with the minimum within-cluster variance (high density clusters). </a:t>
            </a:r>
            <a:endParaRPr lang="en-US"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7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2"/>
          <p:cNvSpPr txBox="1"/>
          <p:nvPr/>
        </p:nvSpPr>
        <p:spPr>
          <a:xfrm>
            <a:off x="3197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9" name="object 82"/>
          <p:cNvSpPr/>
          <p:nvPr/>
        </p:nvSpPr>
        <p:spPr>
          <a:xfrm>
            <a:off x="5215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6201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7053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3469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6760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6361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5949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7673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6682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5128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4252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8314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7354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8154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5497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5242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3932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6549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6361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6222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6014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7833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8186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5839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7994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7003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5679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6383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4330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4054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4650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7515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2133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3184913" y="2276856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2128887" y="2272040"/>
            <a:ext cx="8310513" cy="380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7F7E7E"/>
                </a:solidFill>
                <a:cs typeface="Calibri"/>
              </a:rPr>
              <a:t>or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128888" y="3536565"/>
            <a:ext cx="8310513" cy="800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35"/>
              </a:lnSpc>
              <a:spcBef>
                <a:spcPts val="151"/>
              </a:spcBef>
            </a:pPr>
            <a:r>
              <a:rPr sz="4200" b="1" baseline="2925" dirty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2925" dirty="0">
                <a:solidFill>
                  <a:srgbClr val="7F7E7E"/>
                </a:solidFill>
                <a:cs typeface="Calibri"/>
              </a:rPr>
              <a:t>o</a:t>
            </a:r>
            <a:r>
              <a:rPr sz="4200" b="1" baseline="2925" dirty="0">
                <a:solidFill>
                  <a:srgbClr val="7F7E7E"/>
                </a:solidFill>
                <a:cs typeface="Calibri"/>
              </a:rPr>
              <a:t>m </a:t>
            </a:r>
            <a:r>
              <a:rPr sz="4200" baseline="2925" dirty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baseline="2925" dirty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2925" dirty="0">
                <a:solidFill>
                  <a:srgbClr val="7F7E7E"/>
                </a:solidFill>
                <a:cs typeface="Calibri"/>
              </a:rPr>
              <a:t>r</a:t>
            </a:r>
            <a:r>
              <a:rPr sz="4200" b="1" baseline="2925" dirty="0">
                <a:solidFill>
                  <a:srgbClr val="7F7E7E"/>
                </a:solidFill>
                <a:cs typeface="Calibri"/>
              </a:rPr>
              <a:t>t </a:t>
            </a:r>
            <a:r>
              <a:rPr sz="4200" baseline="2925" dirty="0">
                <a:solidFill>
                  <a:srgbClr val="9BBA58"/>
                </a:solidFill>
                <a:cs typeface="Calibri"/>
              </a:rPr>
              <a:t>Ward</a:t>
            </a:r>
            <a:endParaRPr sz="2800" dirty="0">
              <a:cs typeface="Calibri"/>
            </a:endParaRPr>
          </a:p>
          <a:p>
            <a:pPr marL="12700" marR="53339">
              <a:lnSpc>
                <a:spcPts val="3265"/>
              </a:lnSpc>
              <a:spcBef>
                <a:spcPts val="11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Ward().ﬁt_predict(X)</a:t>
            </a:r>
          </a:p>
        </p:txBody>
      </p:sp>
      <p:sp>
        <p:nvSpPr>
          <p:cNvPr id="2" name="object 2"/>
          <p:cNvSpPr txBox="1"/>
          <p:nvPr/>
        </p:nvSpPr>
        <p:spPr>
          <a:xfrm>
            <a:off x="2128887" y="5220192"/>
            <a:ext cx="8310513" cy="3424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aseline="1950" dirty="0">
                <a:solidFill>
                  <a:srgbClr val="7F7E7E"/>
                </a:solidFill>
                <a:cs typeface="Calibri"/>
              </a:rPr>
              <a:t>(Same thing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" name="object 3"/>
          <p:cNvSpPr txBox="1"/>
          <p:nvPr/>
        </p:nvSpPr>
        <p:spPr>
          <a:xfrm>
            <a:off x="2128888" y="533891"/>
            <a:ext cx="8310513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baseline="1950" dirty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1950" dirty="0">
                <a:solidFill>
                  <a:srgbClr val="7F7E7E"/>
                </a:solidFill>
                <a:cs typeface="Calibri"/>
              </a:rPr>
              <a:t>o</a:t>
            </a:r>
            <a:r>
              <a:rPr sz="4200" b="1" baseline="1950" dirty="0">
                <a:solidFill>
                  <a:srgbClr val="7F7E7E"/>
                </a:solidFill>
                <a:cs typeface="Calibri"/>
              </a:rPr>
              <a:t>m </a:t>
            </a:r>
            <a:r>
              <a:rPr sz="4200" baseline="1950" dirty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baseline="1950" dirty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1950" dirty="0">
                <a:solidFill>
                  <a:srgbClr val="7F7E7E"/>
                </a:solidFill>
                <a:cs typeface="Calibri"/>
              </a:rPr>
              <a:t>r</a:t>
            </a:r>
            <a:r>
              <a:rPr sz="4200" b="1" baseline="1950" dirty="0">
                <a:solidFill>
                  <a:srgbClr val="7F7E7E"/>
                </a:solidFill>
                <a:cs typeface="Calibri"/>
              </a:rPr>
              <a:t>t </a:t>
            </a:r>
            <a:r>
              <a:rPr sz="4200" baseline="1950" dirty="0">
                <a:solidFill>
                  <a:srgbClr val="9BBA58"/>
                </a:solidFill>
                <a:cs typeface="Calibri"/>
              </a:rPr>
              <a:t>Agglomera</a:t>
            </a:r>
            <a:r>
              <a:rPr lang="en-US" sz="4200" baseline="1950" dirty="0">
                <a:solidFill>
                  <a:srgbClr val="9BBA58"/>
                </a:solidFill>
                <a:cs typeface="Calibri"/>
              </a:rPr>
              <a:t>ti</a:t>
            </a:r>
            <a:r>
              <a:rPr sz="4200" baseline="1950" dirty="0">
                <a:solidFill>
                  <a:srgbClr val="9BBA58"/>
                </a:solidFill>
                <a:cs typeface="Calibri"/>
              </a:rPr>
              <a:t>veClustering</a:t>
            </a:r>
            <a:endParaRPr sz="2800" dirty="0">
              <a:cs typeface="Calibri"/>
            </a:endParaRPr>
          </a:p>
        </p:txBody>
      </p:sp>
      <p:sp>
        <p:nvSpPr>
          <p:cNvPr id="10" name="object 3"/>
          <p:cNvSpPr txBox="1"/>
          <p:nvPr/>
        </p:nvSpPr>
        <p:spPr>
          <a:xfrm>
            <a:off x="2128888" y="1003792"/>
            <a:ext cx="8310513" cy="4307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Agglomerative Clustering(linkage=“Ward”).</a:t>
            </a:r>
            <a:r>
              <a:rPr lang="en-US" sz="4200" baseline="1950" dirty="0" err="1">
                <a:solidFill>
                  <a:srgbClr val="7F7E7E"/>
                </a:solidFill>
                <a:cs typeface="Calibri"/>
              </a:rPr>
              <a:t>fit_predict</a:t>
            </a: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(X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128888" y="2235691"/>
            <a:ext cx="6769887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4200" baseline="2925" dirty="0">
                <a:solidFill>
                  <a:srgbClr val="7F7E7E"/>
                </a:solidFill>
                <a:cs typeface="Calibri"/>
              </a:rPr>
              <a:t>Agglomera</a:t>
            </a:r>
            <a:r>
              <a:rPr lang="en-US" sz="4200" baseline="2925" dirty="0">
                <a:solidFill>
                  <a:srgbClr val="7F7E7E"/>
                </a:solidFill>
                <a:cs typeface="Calibri"/>
              </a:rPr>
              <a:t>ti</a:t>
            </a:r>
            <a:r>
              <a:rPr sz="4200" baseline="2925" dirty="0">
                <a:solidFill>
                  <a:srgbClr val="7F7E7E"/>
                </a:solidFill>
                <a:cs typeface="Calibri"/>
              </a:rPr>
              <a:t>veClustering(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18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….,</a:t>
            </a:r>
          </a:p>
          <a:p>
            <a:pPr marL="3670300" marR="53340">
              <a:lnSpc>
                <a:spcPts val="3300"/>
              </a:lnSpc>
            </a:pPr>
            <a:r>
              <a:rPr sz="4200" baseline="1950" dirty="0">
                <a:solidFill>
                  <a:srgbClr val="7F7E7E"/>
                </a:solidFill>
                <a:cs typeface="Calibri"/>
              </a:rPr>
              <a:t>linkage = “ward”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5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….,</a:t>
            </a:r>
          </a:p>
          <a:p>
            <a:pPr marL="3670300">
              <a:lnSpc>
                <a:spcPts val="3300"/>
              </a:lnSpc>
            </a:pPr>
            <a:r>
              <a:rPr sz="4200" baseline="1950" dirty="0">
                <a:solidFill>
                  <a:srgbClr val="7F7E7E"/>
                </a:solidFill>
                <a:cs typeface="Calibri"/>
              </a:rPr>
              <a:t>aﬃnity = “euclidian”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16680" algn="ctr">
              <a:lnSpc>
                <a:spcPts val="3365"/>
              </a:lnSpc>
              <a:spcBef>
                <a:spcPts val="3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….)</a:t>
            </a:r>
          </a:p>
        </p:txBody>
      </p:sp>
      <p:sp>
        <p:nvSpPr>
          <p:cNvPr id="4" name="object 3"/>
          <p:cNvSpPr txBox="1"/>
          <p:nvPr/>
        </p:nvSpPr>
        <p:spPr>
          <a:xfrm>
            <a:off x="2128888" y="533891"/>
            <a:ext cx="8310513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baseline="1950" dirty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1950" dirty="0">
                <a:solidFill>
                  <a:srgbClr val="7F7E7E"/>
                </a:solidFill>
                <a:cs typeface="Calibri"/>
              </a:rPr>
              <a:t>o</a:t>
            </a:r>
            <a:r>
              <a:rPr sz="4200" b="1" baseline="1950" dirty="0">
                <a:solidFill>
                  <a:srgbClr val="7F7E7E"/>
                </a:solidFill>
                <a:cs typeface="Calibri"/>
              </a:rPr>
              <a:t>m </a:t>
            </a:r>
            <a:r>
              <a:rPr sz="4200" baseline="1950" dirty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baseline="1950" dirty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1950" dirty="0">
                <a:solidFill>
                  <a:srgbClr val="7F7E7E"/>
                </a:solidFill>
                <a:cs typeface="Calibri"/>
              </a:rPr>
              <a:t>r</a:t>
            </a:r>
            <a:r>
              <a:rPr sz="4200" b="1" baseline="1950" dirty="0">
                <a:solidFill>
                  <a:srgbClr val="7F7E7E"/>
                </a:solidFill>
                <a:cs typeface="Calibri"/>
              </a:rPr>
              <a:t>t </a:t>
            </a:r>
            <a:r>
              <a:rPr sz="4200" baseline="1950" dirty="0">
                <a:solidFill>
                  <a:srgbClr val="9BBA58"/>
                </a:solidFill>
                <a:cs typeface="Calibri"/>
              </a:rPr>
              <a:t>Agglomera</a:t>
            </a:r>
            <a:r>
              <a:rPr lang="en-US" sz="4200" baseline="1950" dirty="0">
                <a:solidFill>
                  <a:srgbClr val="9BBA58"/>
                </a:solidFill>
                <a:cs typeface="Calibri"/>
              </a:rPr>
              <a:t>ti</a:t>
            </a:r>
            <a:r>
              <a:rPr sz="4200" baseline="1950" dirty="0">
                <a:solidFill>
                  <a:srgbClr val="9BBA58"/>
                </a:solidFill>
                <a:cs typeface="Calibri"/>
              </a:rPr>
              <a:t>veClustering</a:t>
            </a:r>
            <a:endParaRPr sz="28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128887" y="2235691"/>
            <a:ext cx="6769532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4200" baseline="2925" dirty="0">
                <a:solidFill>
                  <a:srgbClr val="7F7E7E"/>
                </a:solidFill>
                <a:cs typeface="Calibri"/>
              </a:rPr>
              <a:t>Agglomer</a:t>
            </a:r>
            <a:r>
              <a:rPr lang="en-US" sz="4200" baseline="2925" dirty="0">
                <a:solidFill>
                  <a:srgbClr val="7F7E7E"/>
                </a:solidFill>
                <a:cs typeface="Calibri"/>
              </a:rPr>
              <a:t>ati</a:t>
            </a:r>
            <a:r>
              <a:rPr sz="4200" baseline="2925" dirty="0">
                <a:solidFill>
                  <a:srgbClr val="7F7E7E"/>
                </a:solidFill>
                <a:cs typeface="Calibri"/>
              </a:rPr>
              <a:t>veClustering(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424" algn="ctr">
              <a:lnSpc>
                <a:spcPts val="3400"/>
              </a:lnSpc>
              <a:spcBef>
                <a:spcPts val="18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….,</a:t>
            </a:r>
          </a:p>
          <a:p>
            <a:pPr marL="3670300" marR="53340">
              <a:lnSpc>
                <a:spcPts val="3300"/>
              </a:lnSpc>
            </a:pPr>
            <a:r>
              <a:rPr sz="4200" baseline="1950" dirty="0">
                <a:solidFill>
                  <a:srgbClr val="7F7E7E"/>
                </a:solidFill>
                <a:cs typeface="Calibri"/>
              </a:rPr>
              <a:t>linkage = “ward”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424" algn="ctr">
              <a:lnSpc>
                <a:spcPts val="3400"/>
              </a:lnSpc>
              <a:spcBef>
                <a:spcPts val="5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….,</a:t>
            </a:r>
          </a:p>
          <a:p>
            <a:pPr marL="3670300">
              <a:lnSpc>
                <a:spcPts val="3300"/>
              </a:lnSpc>
            </a:pPr>
            <a:r>
              <a:rPr sz="4200" baseline="1950" dirty="0">
                <a:solidFill>
                  <a:srgbClr val="F69545"/>
                </a:solidFill>
                <a:cs typeface="Calibri"/>
              </a:rPr>
              <a:t>aﬃnity = “euclidian”</a:t>
            </a:r>
            <a:r>
              <a:rPr sz="4200" baseline="1950" dirty="0">
                <a:solidFill>
                  <a:srgbClr val="7F7E7E"/>
                </a:solidFill>
                <a:cs typeface="Calibri"/>
              </a:rPr>
              <a:t>,</a:t>
            </a:r>
            <a:endParaRPr sz="2800" dirty="0">
              <a:cs typeface="Calibri"/>
            </a:endParaRPr>
          </a:p>
          <a:p>
            <a:pPr marL="3630929" marR="2616324" algn="ctr">
              <a:lnSpc>
                <a:spcPts val="3365"/>
              </a:lnSpc>
              <a:spcBef>
                <a:spcPts val="3"/>
              </a:spcBef>
            </a:pPr>
            <a:r>
              <a:rPr sz="2800" dirty="0">
                <a:solidFill>
                  <a:srgbClr val="7F7E7E"/>
                </a:solidFill>
                <a:cs typeface="Calibri"/>
              </a:rPr>
              <a:t>….)</a:t>
            </a:r>
          </a:p>
        </p:txBody>
      </p:sp>
      <p:sp>
        <p:nvSpPr>
          <p:cNvPr id="4" name="object 3"/>
          <p:cNvSpPr txBox="1"/>
          <p:nvPr/>
        </p:nvSpPr>
        <p:spPr>
          <a:xfrm>
            <a:off x="2128888" y="533891"/>
            <a:ext cx="8310513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baseline="1950" dirty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1950" dirty="0">
                <a:solidFill>
                  <a:srgbClr val="7F7E7E"/>
                </a:solidFill>
                <a:cs typeface="Calibri"/>
              </a:rPr>
              <a:t>o</a:t>
            </a:r>
            <a:r>
              <a:rPr sz="4200" b="1" baseline="1950" dirty="0">
                <a:solidFill>
                  <a:srgbClr val="7F7E7E"/>
                </a:solidFill>
                <a:cs typeface="Calibri"/>
              </a:rPr>
              <a:t>m </a:t>
            </a:r>
            <a:r>
              <a:rPr sz="4200" baseline="1950" dirty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baseline="1950" dirty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1950" dirty="0">
                <a:solidFill>
                  <a:srgbClr val="7F7E7E"/>
                </a:solidFill>
                <a:cs typeface="Calibri"/>
              </a:rPr>
              <a:t>r</a:t>
            </a:r>
            <a:r>
              <a:rPr sz="4200" b="1" baseline="1950" dirty="0">
                <a:solidFill>
                  <a:srgbClr val="7F7E7E"/>
                </a:solidFill>
                <a:cs typeface="Calibri"/>
              </a:rPr>
              <a:t>t </a:t>
            </a:r>
            <a:r>
              <a:rPr sz="4200" baseline="1950" dirty="0">
                <a:solidFill>
                  <a:srgbClr val="9BBA58"/>
                </a:solidFill>
                <a:cs typeface="Calibri"/>
              </a:rPr>
              <a:t>Agglomera</a:t>
            </a:r>
            <a:r>
              <a:rPr lang="en-US" sz="4200" baseline="1950" dirty="0">
                <a:solidFill>
                  <a:srgbClr val="9BBA58"/>
                </a:solidFill>
                <a:cs typeface="Calibri"/>
              </a:rPr>
              <a:t>ti</a:t>
            </a:r>
            <a:r>
              <a:rPr sz="4200" baseline="1950" dirty="0">
                <a:solidFill>
                  <a:srgbClr val="9BBA58"/>
                </a:solidFill>
                <a:cs typeface="Calibri"/>
              </a:rPr>
              <a:t>veClustering</a:t>
            </a:r>
            <a:endParaRPr sz="2800" dirty="0"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565400" y="3691729"/>
            <a:ext cx="7048498" cy="2184138"/>
          </a:xfrm>
          <a:prstGeom prst="rect">
            <a:avLst/>
          </a:prstGeom>
          <a:blipFill>
            <a:blip r:embed="rId2" cstate="print"/>
            <a:srcRect/>
            <a:stretch>
              <a:fillRect t="-1" b="-38388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464428" y="2743201"/>
            <a:ext cx="7593972" cy="60272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4715"/>
              </a:lnSpc>
            </a:pP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Distance Metrics</a:t>
            </a:r>
          </a:p>
        </p:txBody>
      </p:sp>
    </p:spTree>
    <p:extLst>
      <p:ext uri="{BB962C8B-B14F-4D97-AF65-F5344CB8AC3E}">
        <p14:creationId xmlns:p14="http://schemas.microsoft.com/office/powerpoint/2010/main" val="1363528859"/>
      </p:ext>
    </p:extLst>
  </p:cSld>
  <p:clrMapOvr>
    <a:masterClrMapping/>
  </p:clrMapOvr>
  <p:transition spd="med"/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2565016" y="545066"/>
            <a:ext cx="7874384" cy="4737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5" name="object 82"/>
          <p:cNvSpPr/>
          <p:nvPr/>
        </p:nvSpPr>
        <p:spPr>
          <a:xfrm>
            <a:off x="5938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84"/>
          <p:cNvSpPr/>
          <p:nvPr/>
        </p:nvSpPr>
        <p:spPr>
          <a:xfrm>
            <a:off x="6923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86"/>
          <p:cNvSpPr/>
          <p:nvPr/>
        </p:nvSpPr>
        <p:spPr>
          <a:xfrm>
            <a:off x="7775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74"/>
          <p:cNvSpPr/>
          <p:nvPr/>
        </p:nvSpPr>
        <p:spPr>
          <a:xfrm>
            <a:off x="4192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72"/>
          <p:cNvSpPr/>
          <p:nvPr/>
        </p:nvSpPr>
        <p:spPr>
          <a:xfrm>
            <a:off x="7483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70"/>
          <p:cNvSpPr/>
          <p:nvPr/>
        </p:nvSpPr>
        <p:spPr>
          <a:xfrm>
            <a:off x="7084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8"/>
          <p:cNvSpPr/>
          <p:nvPr/>
        </p:nvSpPr>
        <p:spPr>
          <a:xfrm>
            <a:off x="6672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8396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3"/>
          <p:cNvSpPr/>
          <p:nvPr/>
        </p:nvSpPr>
        <p:spPr>
          <a:xfrm>
            <a:off x="7404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2"/>
          <p:cNvSpPr/>
          <p:nvPr/>
        </p:nvSpPr>
        <p:spPr>
          <a:xfrm>
            <a:off x="5850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0"/>
          <p:cNvSpPr/>
          <p:nvPr/>
        </p:nvSpPr>
        <p:spPr>
          <a:xfrm>
            <a:off x="4975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58"/>
          <p:cNvSpPr/>
          <p:nvPr/>
        </p:nvSpPr>
        <p:spPr>
          <a:xfrm>
            <a:off x="9037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56"/>
          <p:cNvSpPr/>
          <p:nvPr/>
        </p:nvSpPr>
        <p:spPr>
          <a:xfrm>
            <a:off x="8077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4"/>
          <p:cNvSpPr/>
          <p:nvPr/>
        </p:nvSpPr>
        <p:spPr>
          <a:xfrm>
            <a:off x="8877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2"/>
          <p:cNvSpPr/>
          <p:nvPr/>
        </p:nvSpPr>
        <p:spPr>
          <a:xfrm>
            <a:off x="6220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0"/>
          <p:cNvSpPr/>
          <p:nvPr/>
        </p:nvSpPr>
        <p:spPr>
          <a:xfrm>
            <a:off x="5965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48"/>
          <p:cNvSpPr/>
          <p:nvPr/>
        </p:nvSpPr>
        <p:spPr>
          <a:xfrm>
            <a:off x="4654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42"/>
          <p:cNvSpPr/>
          <p:nvPr/>
        </p:nvSpPr>
        <p:spPr>
          <a:xfrm>
            <a:off x="7272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44"/>
          <p:cNvSpPr/>
          <p:nvPr/>
        </p:nvSpPr>
        <p:spPr>
          <a:xfrm>
            <a:off x="7084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46"/>
          <p:cNvSpPr/>
          <p:nvPr/>
        </p:nvSpPr>
        <p:spPr>
          <a:xfrm>
            <a:off x="6945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40"/>
          <p:cNvSpPr/>
          <p:nvPr/>
        </p:nvSpPr>
        <p:spPr>
          <a:xfrm>
            <a:off x="6737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38"/>
          <p:cNvSpPr/>
          <p:nvPr/>
        </p:nvSpPr>
        <p:spPr>
          <a:xfrm>
            <a:off x="8556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36"/>
          <p:cNvSpPr/>
          <p:nvPr/>
        </p:nvSpPr>
        <p:spPr>
          <a:xfrm>
            <a:off x="8909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34"/>
          <p:cNvSpPr/>
          <p:nvPr/>
        </p:nvSpPr>
        <p:spPr>
          <a:xfrm>
            <a:off x="6562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2"/>
          <p:cNvSpPr/>
          <p:nvPr/>
        </p:nvSpPr>
        <p:spPr>
          <a:xfrm>
            <a:off x="8716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30"/>
          <p:cNvSpPr/>
          <p:nvPr/>
        </p:nvSpPr>
        <p:spPr>
          <a:xfrm>
            <a:off x="7725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28"/>
          <p:cNvSpPr/>
          <p:nvPr/>
        </p:nvSpPr>
        <p:spPr>
          <a:xfrm>
            <a:off x="6401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26"/>
          <p:cNvSpPr/>
          <p:nvPr/>
        </p:nvSpPr>
        <p:spPr>
          <a:xfrm>
            <a:off x="7105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24"/>
          <p:cNvSpPr/>
          <p:nvPr/>
        </p:nvSpPr>
        <p:spPr>
          <a:xfrm>
            <a:off x="5052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22"/>
          <p:cNvSpPr/>
          <p:nvPr/>
        </p:nvSpPr>
        <p:spPr>
          <a:xfrm>
            <a:off x="4776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20"/>
          <p:cNvSpPr/>
          <p:nvPr/>
        </p:nvSpPr>
        <p:spPr>
          <a:xfrm>
            <a:off x="5373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8"/>
          <p:cNvSpPr/>
          <p:nvPr/>
        </p:nvSpPr>
        <p:spPr>
          <a:xfrm>
            <a:off x="8237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6"/>
          <p:cNvSpPr txBox="1"/>
          <p:nvPr/>
        </p:nvSpPr>
        <p:spPr>
          <a:xfrm>
            <a:off x="2856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48" name="object 5"/>
          <p:cNvSpPr txBox="1"/>
          <p:nvPr/>
        </p:nvSpPr>
        <p:spPr>
          <a:xfrm>
            <a:off x="6950816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baseline="2275" dirty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49" name="Group 148"/>
          <p:cNvGrpSpPr/>
          <p:nvPr/>
        </p:nvGrpSpPr>
        <p:grpSpPr>
          <a:xfrm>
            <a:off x="3907438" y="1888930"/>
            <a:ext cx="6303362" cy="4054670"/>
            <a:chOff x="2343901" y="1923700"/>
            <a:chExt cx="6303362" cy="4054670"/>
          </a:xfrm>
        </p:grpSpPr>
        <p:sp>
          <p:nvSpPr>
            <p:cNvPr id="15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5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tis-Theme-Blue">
  <a:themeElements>
    <a:clrScheme name="Custom 3">
      <a:dk1>
        <a:srgbClr val="000000"/>
      </a:dk1>
      <a:lt1>
        <a:srgbClr val="FFFFFF"/>
      </a:lt1>
      <a:dk2>
        <a:srgbClr val="454551"/>
      </a:dk2>
      <a:lt2>
        <a:srgbClr val="797979"/>
      </a:lt2>
      <a:accent1>
        <a:srgbClr val="EC138B"/>
      </a:accent1>
      <a:accent2>
        <a:srgbClr val="ED3167"/>
      </a:accent2>
      <a:accent3>
        <a:srgbClr val="359ED8"/>
      </a:accent3>
      <a:accent4>
        <a:srgbClr val="255E83"/>
      </a:accent4>
      <a:accent5>
        <a:srgbClr val="B7315B"/>
      </a:accent5>
      <a:accent6>
        <a:srgbClr val="253C6F"/>
      </a:accent6>
      <a:hlink>
        <a:srgbClr val="EC138B"/>
      </a:hlink>
      <a:folHlink>
        <a:srgbClr val="255E83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is-Theme-Blue" id="{5FDFF633-2B43-E34D-A4F1-7FA8B282F13E}" vid="{6425FC6E-14CF-034A-B86B-AAC286D01AD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is-Theme-Blue</Template>
  <TotalTime>1916</TotalTime>
  <Words>5360</Words>
  <Application>Microsoft Macintosh PowerPoint</Application>
  <PresentationFormat>Widescreen</PresentationFormat>
  <Paragraphs>1388</Paragraphs>
  <Slides>23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6</vt:i4>
      </vt:variant>
    </vt:vector>
  </HeadingPairs>
  <TitlesOfParts>
    <vt:vector size="244" baseType="lpstr">
      <vt:lpstr>Arial</vt:lpstr>
      <vt:lpstr>Calibri</vt:lpstr>
      <vt:lpstr>Cambria Math</vt:lpstr>
      <vt:lpstr>Gill Sans MT</vt:lpstr>
      <vt:lpstr>Helvetica</vt:lpstr>
      <vt:lpstr>Wingdings 3</vt:lpstr>
      <vt:lpstr>Metis-Theme-Blue</vt:lpstr>
      <vt:lpstr>think-cell Slide</vt:lpstr>
      <vt:lpstr>Other Clustering Algorithm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ierarchical Agglomerative Cluste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ck to Other Clustering Algorithms  </vt:lpstr>
      <vt:lpstr>DBSCA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an Shif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perties, Advantages, Disadvanta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does clustering with cosine distance look like?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Sophia Ray</cp:lastModifiedBy>
  <cp:revision>157</cp:revision>
  <dcterms:modified xsi:type="dcterms:W3CDTF">2018-11-20T20:39:51Z</dcterms:modified>
</cp:coreProperties>
</file>